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4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5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7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8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9.xml" ContentType="application/vnd.openxmlformats-officedocument.theme+xml"/>
  <Override PartName="/ppt/tags/tag4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10.xml" ContentType="application/vnd.openxmlformats-officedocument.theme+xml"/>
  <Override PartName="/ppt/tags/tag5.xml" ContentType="application/vnd.openxmlformats-officedocument.presentationml.tags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heme/theme11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12.xml" ContentType="application/vnd.openxmlformats-officedocument.theme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heme/theme13.xml" ContentType="application/vnd.openxmlformats-officedocument.theme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14.xml" ContentType="application/vnd.openxmlformats-officedocument.theme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theme/theme15.xml" ContentType="application/vnd.openxmlformats-officedocument.theme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theme/theme16.xml" ContentType="application/vnd.openxmlformats-officedocument.theme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theme/theme17.xml" ContentType="application/vnd.openxmlformats-officedocument.theme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theme/theme18.xml" ContentType="application/vnd.openxmlformats-officedocument.theme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theme/theme19.xml" ContentType="application/vnd.openxmlformats-officedocument.theme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86" r:id="rId2"/>
    <p:sldMasterId id="2147483706" r:id="rId3"/>
    <p:sldMasterId id="2147483731" r:id="rId4"/>
    <p:sldMasterId id="2147483753" r:id="rId5"/>
    <p:sldMasterId id="2147483772" r:id="rId6"/>
    <p:sldMasterId id="2147483786" r:id="rId7"/>
    <p:sldMasterId id="2147483807" r:id="rId8"/>
    <p:sldMasterId id="2147483829" r:id="rId9"/>
    <p:sldMasterId id="2147483856" r:id="rId10"/>
    <p:sldMasterId id="2147483881" r:id="rId11"/>
    <p:sldMasterId id="2147483910" r:id="rId12"/>
    <p:sldMasterId id="2147483932" r:id="rId13"/>
    <p:sldMasterId id="2147483944" r:id="rId14"/>
    <p:sldMasterId id="2147483965" r:id="rId15"/>
    <p:sldMasterId id="2147483978" r:id="rId16"/>
    <p:sldMasterId id="2147484000" r:id="rId17"/>
    <p:sldMasterId id="2147484021" r:id="rId18"/>
    <p:sldMasterId id="2147484041" r:id="rId19"/>
    <p:sldMasterId id="2147484060" r:id="rId20"/>
  </p:sldMasterIdLst>
  <p:notesMasterIdLst>
    <p:notesMasterId r:id="rId39"/>
  </p:notesMasterIdLst>
  <p:sldIdLst>
    <p:sldId id="297" r:id="rId21"/>
    <p:sldId id="298" r:id="rId22"/>
    <p:sldId id="299" r:id="rId23"/>
    <p:sldId id="300" r:id="rId24"/>
    <p:sldId id="301" r:id="rId25"/>
    <p:sldId id="304" r:id="rId26"/>
    <p:sldId id="302" r:id="rId27"/>
    <p:sldId id="306" r:id="rId28"/>
    <p:sldId id="307" r:id="rId29"/>
    <p:sldId id="308" r:id="rId30"/>
    <p:sldId id="309" r:id="rId31"/>
    <p:sldId id="312" r:id="rId32"/>
    <p:sldId id="313" r:id="rId33"/>
    <p:sldId id="314" r:id="rId34"/>
    <p:sldId id="315" r:id="rId35"/>
    <p:sldId id="316" r:id="rId36"/>
    <p:sldId id="318" r:id="rId37"/>
    <p:sldId id="319" r:id="rId3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95" autoAdjust="0"/>
    <p:restoredTop sz="94724" autoAdjust="0"/>
  </p:normalViewPr>
  <p:slideViewPr>
    <p:cSldViewPr>
      <p:cViewPr varScale="1">
        <p:scale>
          <a:sx n="81" d="100"/>
          <a:sy n="81" d="100"/>
        </p:scale>
        <p:origin x="900" y="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6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1.xml"/><Relationship Id="rId34" Type="http://schemas.openxmlformats.org/officeDocument/2006/relationships/slide" Target="slides/slide14.xml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9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4.xml"/><Relationship Id="rId32" Type="http://schemas.openxmlformats.org/officeDocument/2006/relationships/slide" Target="slides/slide12.xml"/><Relationship Id="rId37" Type="http://schemas.openxmlformats.org/officeDocument/2006/relationships/slide" Target="slides/slide17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slide" Target="slides/slide1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DAA80C-06CA-4B11-8634-CBE3697B48F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7C6A3B5-1C28-48F6-976E-442081EB5A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00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Relationship Id="rId4" Type="http://schemas.openxmlformats.org/officeDocument/2006/relationships/image" Target="file:///\\localhost\Users\ldorion\Desktop\PPT\Assets\metlife_eng_tagline_cmyk.jpg" TargetMode="Externa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0.jpe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4.bin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2.emf"/><Relationship Id="rId4" Type="http://schemas.openxmlformats.org/officeDocument/2006/relationships/oleObject" Target="../embeddings/oleObject5.bin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11.xml"/><Relationship Id="rId4" Type="http://schemas.openxmlformats.org/officeDocument/2006/relationships/image" Target="file://localhost/Users/ldorion/Desktop/PPT/Assets/metlife_eng_tagline_cmyk.jpg" TargetMode="Externa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6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7.bin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8.bin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9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0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1.bin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2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3.bin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2.jpe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4.bin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file://localhost/Users/ldorion/Desktop/PPT/Assets/metlife_eng_tagline_cmyk.jpg" TargetMode="Externa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4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38.jpeg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1.svg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1.svg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1.sv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1.svg"/></Relationships>
</file>

<file path=ppt/slideLayouts/_rels/slideLayout3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1.svg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7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7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8.xml"/><Relationship Id="rId4" Type="http://schemas.openxmlformats.org/officeDocument/2006/relationships/image" Target="file://localhost/Users/ldorion/Desktop/PPT/Assets/metlife_eng_tagline_cmyk.jpg" TargetMode="Externa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9.xml"/><Relationship Id="rId4" Type="http://schemas.openxmlformats.org/officeDocument/2006/relationships/image" Target="file://localhost/Users/ldorion/Desktop/PPT/Assets/metlife_eng_tagline_cmyk.jpg" TargetMode="Externa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0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Relationship Id="rId4" Type="http://schemas.openxmlformats.org/officeDocument/2006/relationships/image" Target="file:///\\localhost\Users\ldorion\Desktop\PPT\Assets\metlife_eng_tagline_cmyk.jpg" TargetMode="Externa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ldorion\Desktop\PPT\Assets\metlife_eng_logo_cmyk-c.jpg" TargetMode="External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Relationship Id="rId4" Type="http://schemas.openxmlformats.org/officeDocument/2006/relationships/image" Target="file://localhost/Users/ldorion/Desktop/PPT/Assets/metlife_eng_tagline_cmyk.jpg" TargetMode="Externa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360036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9499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5280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9259257" cy="1136901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911022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2" y="1032008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1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2" y="1032008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2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4" name="Rectangle 3"/>
          <p:cNvSpPr/>
          <p:nvPr/>
        </p:nvSpPr>
        <p:spPr>
          <a:xfrm>
            <a:off x="366848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" name="Rectangle 18"/>
          <p:cNvSpPr/>
          <p:nvPr/>
        </p:nvSpPr>
        <p:spPr>
          <a:xfrm>
            <a:off x="2578921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" name="Rectangle 19"/>
          <p:cNvSpPr/>
          <p:nvPr/>
        </p:nvSpPr>
        <p:spPr>
          <a:xfrm>
            <a:off x="4790994" y="1433851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1" name="Rectangle 20"/>
          <p:cNvSpPr/>
          <p:nvPr/>
        </p:nvSpPr>
        <p:spPr>
          <a:xfrm>
            <a:off x="7003067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Rectangle 26"/>
          <p:cNvSpPr/>
          <p:nvPr/>
        </p:nvSpPr>
        <p:spPr>
          <a:xfrm>
            <a:off x="9215142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0994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3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786109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08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08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19101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383421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6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495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37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8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0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7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28407138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922909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356418" y="3344463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56418" y="4798501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886935" y="1838241"/>
            <a:ext cx="7255468" cy="1150620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8"/>
          </p:nvPr>
        </p:nvSpPr>
        <p:spPr>
          <a:xfrm>
            <a:off x="3886935" y="3270084"/>
            <a:ext cx="7255468" cy="1172816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9"/>
          </p:nvPr>
        </p:nvSpPr>
        <p:spPr>
          <a:xfrm>
            <a:off x="3886935" y="4713833"/>
            <a:ext cx="7255468" cy="1393455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7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01318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7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9259257" cy="1136901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54766880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50838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 preferRelativeResize="0"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1130" y="947485"/>
            <a:ext cx="2314409" cy="15934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674176"/>
            <a:ext cx="2934117" cy="520139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444022"/>
            <a:ext cx="7927259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1" rIns="68580" bIns="34291" rtlCol="0" anchor="ctr"/>
          <a:lstStyle/>
          <a:p>
            <a:pPr algn="ctr"/>
            <a:endParaRPr lang="en-US" sz="1400" dirty="0"/>
          </a:p>
        </p:txBody>
      </p:sp>
      <p:sp>
        <p:nvSpPr>
          <p:cNvPr id="18" name="Rectangle 17"/>
          <p:cNvSpPr/>
          <p:nvPr/>
        </p:nvSpPr>
        <p:spPr>
          <a:xfrm>
            <a:off x="7927258" y="6444022"/>
            <a:ext cx="1224117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1" rIns="68580" bIns="34291" rtlCol="0" anchor="ctr"/>
          <a:lstStyle/>
          <a:p>
            <a:pPr algn="ctr"/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9151373" y="6444022"/>
            <a:ext cx="2470544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1" rIns="68580" bIns="34291" rtlCol="0" anchor="ctr"/>
          <a:lstStyle/>
          <a:p>
            <a:pPr algn="ctr"/>
            <a:endParaRPr lang="en-US" sz="1400" dirty="0"/>
          </a:p>
        </p:txBody>
      </p:sp>
      <p:sp>
        <p:nvSpPr>
          <p:cNvPr id="20" name="Rectangle 19"/>
          <p:cNvSpPr/>
          <p:nvPr/>
        </p:nvSpPr>
        <p:spPr>
          <a:xfrm>
            <a:off x="11621915" y="6444022"/>
            <a:ext cx="570085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1" rIns="68580" bIns="34291" rtlCol="0" anchor="ctr"/>
          <a:lstStyle/>
          <a:p>
            <a:pPr algn="ctr"/>
            <a:endParaRPr lang="en-US" sz="1400" dirty="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44020" y="3704884"/>
            <a:ext cx="10861521" cy="77421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577048"/>
            <a:ext cx="6315584" cy="325152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53001"/>
            <a:ext cx="6315584" cy="298451"/>
          </a:xfrm>
        </p:spPr>
        <p:txBody>
          <a:bodyPr tIns="0" bIns="0"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18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314944"/>
            <a:ext cx="6315584" cy="292107"/>
          </a:xfrm>
        </p:spPr>
        <p:txBody>
          <a:bodyPr tIns="0" bIns="0"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4534141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 preferRelativeResize="0"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1130" y="947485"/>
            <a:ext cx="2314409" cy="15934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674176"/>
            <a:ext cx="2934117" cy="520139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444022"/>
            <a:ext cx="7927259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1" rIns="68580" bIns="34291" rtlCol="0" anchor="ctr"/>
          <a:lstStyle/>
          <a:p>
            <a:pPr algn="ctr"/>
            <a:endParaRPr lang="en-US" sz="1400" dirty="0"/>
          </a:p>
        </p:txBody>
      </p:sp>
      <p:sp>
        <p:nvSpPr>
          <p:cNvPr id="18" name="Rectangle 17"/>
          <p:cNvSpPr/>
          <p:nvPr/>
        </p:nvSpPr>
        <p:spPr>
          <a:xfrm>
            <a:off x="7927258" y="6444022"/>
            <a:ext cx="1224117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1" rIns="68580" bIns="34291" rtlCol="0" anchor="ctr"/>
          <a:lstStyle/>
          <a:p>
            <a:pPr algn="ctr"/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9151373" y="6444022"/>
            <a:ext cx="2470544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1" rIns="68580" bIns="34291" rtlCol="0" anchor="ctr"/>
          <a:lstStyle/>
          <a:p>
            <a:pPr algn="ctr"/>
            <a:endParaRPr lang="en-US" sz="1400" dirty="0"/>
          </a:p>
        </p:txBody>
      </p:sp>
      <p:sp>
        <p:nvSpPr>
          <p:cNvPr id="20" name="Rectangle 19"/>
          <p:cNvSpPr/>
          <p:nvPr/>
        </p:nvSpPr>
        <p:spPr>
          <a:xfrm>
            <a:off x="11621915" y="6444022"/>
            <a:ext cx="570085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1" rIns="68580" bIns="34291" rtlCol="0" anchor="ctr"/>
          <a:lstStyle/>
          <a:p>
            <a:pPr algn="ctr"/>
            <a:endParaRPr lang="en-US" sz="1400" dirty="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44020" y="3704884"/>
            <a:ext cx="10861521" cy="77421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744251"/>
            <a:ext cx="6315584" cy="325152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400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 dirty="0"/>
              <a:t>[Audience (optional)]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7" y="5125088"/>
            <a:ext cx="6315584" cy="292107"/>
          </a:xfrm>
          <a:prstGeom prst="rect">
            <a:avLst/>
          </a:prstGeom>
        </p:spPr>
        <p:txBody>
          <a:bodyPr tIns="0" bIns="0" anchor="ctr" anchorCtr="0">
            <a:noAutofit/>
          </a:bodyPr>
          <a:lstStyle>
            <a:lvl1pPr marL="0" indent="0">
              <a:lnSpc>
                <a:spcPct val="100000"/>
              </a:lnSpc>
              <a:buNone/>
              <a:defRPr sz="1800"/>
            </a:lvl1pPr>
          </a:lstStyle>
          <a:p>
            <a:pPr lvl="0"/>
            <a:r>
              <a:rPr lang="en-US" dirty="0"/>
              <a:t>[Date]</a:t>
            </a:r>
          </a:p>
        </p:txBody>
      </p:sp>
    </p:spTree>
    <p:extLst>
      <p:ext uri="{BB962C8B-B14F-4D97-AF65-F5344CB8AC3E}">
        <p14:creationId xmlns:p14="http://schemas.microsoft.com/office/powerpoint/2010/main" val="19293923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482843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/>
          <p:cNvSpPr/>
          <p:nvPr/>
        </p:nvSpPr>
        <p:spPr>
          <a:xfrm>
            <a:off x="0" y="6444022"/>
            <a:ext cx="7927259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1" rIns="68580" bIns="34291" rtlCol="0" anchor="ctr"/>
          <a:lstStyle/>
          <a:p>
            <a:pPr algn="ctr"/>
            <a:endParaRPr lang="en-US" sz="1400" dirty="0"/>
          </a:p>
        </p:txBody>
      </p:sp>
      <p:sp>
        <p:nvSpPr>
          <p:cNvPr id="18" name="Rectangle 17"/>
          <p:cNvSpPr/>
          <p:nvPr/>
        </p:nvSpPr>
        <p:spPr>
          <a:xfrm>
            <a:off x="7927258" y="6444022"/>
            <a:ext cx="1224117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1" rIns="68580" bIns="34291" rtlCol="0" anchor="ctr"/>
          <a:lstStyle/>
          <a:p>
            <a:pPr algn="ctr"/>
            <a:endParaRPr lang="en-US" sz="1400" dirty="0"/>
          </a:p>
        </p:txBody>
      </p:sp>
      <p:sp>
        <p:nvSpPr>
          <p:cNvPr id="19" name="Rectangle 18"/>
          <p:cNvSpPr/>
          <p:nvPr/>
        </p:nvSpPr>
        <p:spPr>
          <a:xfrm>
            <a:off x="9151373" y="6444022"/>
            <a:ext cx="2470544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1" rIns="68580" bIns="34291" rtlCol="0" anchor="ctr"/>
          <a:lstStyle/>
          <a:p>
            <a:pPr algn="ctr"/>
            <a:endParaRPr lang="en-US" sz="1400" dirty="0"/>
          </a:p>
        </p:txBody>
      </p:sp>
      <p:sp>
        <p:nvSpPr>
          <p:cNvPr id="20" name="Rectangle 19"/>
          <p:cNvSpPr/>
          <p:nvPr/>
        </p:nvSpPr>
        <p:spPr>
          <a:xfrm>
            <a:off x="11621915" y="6444022"/>
            <a:ext cx="570085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1" rIns="68580" bIns="34291" rtlCol="0" anchor="ctr"/>
          <a:lstStyle/>
          <a:p>
            <a:pPr algn="ctr"/>
            <a:endParaRPr lang="en-US" sz="1400" dirty="0"/>
          </a:p>
        </p:txBody>
      </p:sp>
      <p:grpSp>
        <p:nvGrpSpPr>
          <p:cNvPr id="9" name="Group 8"/>
          <p:cNvGrpSpPr/>
          <p:nvPr/>
        </p:nvGrpSpPr>
        <p:grpSpPr>
          <a:xfrm>
            <a:off x="2289970" y="2506508"/>
            <a:ext cx="7612065" cy="1844984"/>
            <a:chOff x="1578384" y="2542247"/>
            <a:chExt cx="5709049" cy="1844984"/>
          </a:xfrm>
        </p:grpSpPr>
        <p:pic>
          <p:nvPicPr>
            <p:cNvPr id="10" name="Picture 9"/>
            <p:cNvPicPr preferRelativeResize="0"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4130" y="4010560"/>
              <a:ext cx="4103303" cy="376671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54" t="25599" r="9369" b="25265"/>
            <a:stretch/>
          </p:blipFill>
          <p:spPr>
            <a:xfrm>
              <a:off x="1578384" y="2542247"/>
              <a:ext cx="5158159" cy="1219199"/>
            </a:xfrm>
            <a:prstGeom prst="rect">
              <a:avLst/>
            </a:prstGeom>
          </p:spPr>
        </p:pic>
      </p:grpSp>
      <p:sp>
        <p:nvSpPr>
          <p:cNvPr id="15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34596439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706879" y="6256981"/>
            <a:ext cx="9875520" cy="358665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kern="1200" dirty="0">
                <a:solidFill>
                  <a:schemeClr val="accent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5"/>
          </p:nvPr>
        </p:nvSpPr>
        <p:spPr>
          <a:xfrm>
            <a:off x="358878" y="1067916"/>
            <a:ext cx="11472671" cy="5017757"/>
          </a:xfrm>
          <a:prstGeom prst="rect">
            <a:avLst/>
          </a:prstGeom>
        </p:spPr>
        <p:txBody>
          <a:bodyPr/>
          <a:lstStyle>
            <a:lvl1pPr marL="182875" indent="-182875">
              <a:defRPr/>
            </a:lvl1pPr>
            <a:lvl2pPr marL="365751" indent="-182875">
              <a:defRPr/>
            </a:lvl2pPr>
            <a:lvl3pPr marL="548626" indent="-182875">
              <a:defRPr/>
            </a:lvl3pPr>
            <a:lvl4pPr marL="731502" indent="-182875">
              <a:defRPr/>
            </a:lvl4pPr>
            <a:lvl5pPr marL="914377" indent="-182875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488871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58876" y="1067916"/>
            <a:ext cx="11472672" cy="5017757"/>
          </a:xfrm>
          <a:prstGeom prst="rect">
            <a:avLst/>
          </a:prstGeom>
        </p:spPr>
        <p:txBody>
          <a:bodyPr/>
          <a:lstStyle>
            <a:lvl1pPr marL="182875" indent="-182875">
              <a:defRPr sz="1800"/>
            </a:lvl1pPr>
            <a:lvl2pPr marL="365751" indent="-182875">
              <a:defRPr sz="1600"/>
            </a:lvl2pPr>
            <a:lvl3pPr marL="548626" indent="-182875">
              <a:defRPr sz="1400"/>
            </a:lvl3pPr>
            <a:lvl4pPr marL="731502" indent="-182875">
              <a:defRPr sz="1200"/>
            </a:lvl4pPr>
            <a:lvl5pPr marL="914377" indent="-182875"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706879" y="6256981"/>
            <a:ext cx="9875520" cy="358665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kern="1200" dirty="0">
                <a:solidFill>
                  <a:schemeClr val="accent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 text</a:t>
            </a:r>
          </a:p>
        </p:txBody>
      </p:sp>
    </p:spTree>
    <p:extLst>
      <p:ext uri="{BB962C8B-B14F-4D97-AF65-F5344CB8AC3E}">
        <p14:creationId xmlns:p14="http://schemas.microsoft.com/office/powerpoint/2010/main" val="186178686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6004" y="1055072"/>
            <a:ext cx="11472672" cy="311037"/>
          </a:xfrm>
        </p:spPr>
        <p:txBody>
          <a:bodyPr lIns="91440" tIns="0" rIns="91440" bIns="0" anchor="b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706879" y="6256981"/>
            <a:ext cx="9875520" cy="358665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kern="1200" dirty="0">
                <a:solidFill>
                  <a:schemeClr val="accent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 text</a:t>
            </a:r>
          </a:p>
        </p:txBody>
      </p:sp>
    </p:spTree>
    <p:extLst>
      <p:ext uri="{BB962C8B-B14F-4D97-AF65-F5344CB8AC3E}">
        <p14:creationId xmlns:p14="http://schemas.microsoft.com/office/powerpoint/2010/main" val="70323385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706879" y="6256981"/>
            <a:ext cx="9875520" cy="358665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kern="1200" dirty="0">
                <a:solidFill>
                  <a:schemeClr val="accent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 text</a:t>
            </a:r>
          </a:p>
        </p:txBody>
      </p:sp>
    </p:spTree>
    <p:extLst>
      <p:ext uri="{BB962C8B-B14F-4D97-AF65-F5344CB8AC3E}">
        <p14:creationId xmlns:p14="http://schemas.microsoft.com/office/powerpoint/2010/main" val="218304318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7038671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11472672" cy="14630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 hasCustomPrompt="1"/>
          </p:nvPr>
        </p:nvSpPr>
        <p:spPr>
          <a:xfrm>
            <a:off x="1706879" y="6256981"/>
            <a:ext cx="9875520" cy="358665"/>
          </a:xfrm>
          <a:prstGeom prst="rect">
            <a:avLst/>
          </a:prstGeom>
        </p:spPr>
        <p:txBody>
          <a:bodyPr lIns="91440" tIns="0" rIns="91440" bIns="0" anchor="b" anchorCtr="0">
            <a:noAutofit/>
          </a:bodyPr>
          <a:lstStyle>
            <a:lvl1pPr marL="0" indent="0" algn="l" defTabSz="685783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US" sz="1400" kern="1200" dirty="0">
                <a:solidFill>
                  <a:schemeClr val="accent4"/>
                </a:solidFill>
                <a:latin typeface="+mn-lt"/>
                <a:ea typeface="+mn-ea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Source text</a:t>
            </a:r>
          </a:p>
        </p:txBody>
      </p:sp>
    </p:spTree>
    <p:extLst>
      <p:ext uri="{BB962C8B-B14F-4D97-AF65-F5344CB8AC3E}">
        <p14:creationId xmlns:p14="http://schemas.microsoft.com/office/powerpoint/2010/main" val="344876871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11472672" cy="14630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147504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101243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>
                <a:solidFill>
                  <a:schemeClr val="tx1"/>
                </a:solidFill>
              </a:defRPr>
            </a:lvl2pPr>
            <a:lvl3pPr>
              <a:buClrTx/>
              <a:defRPr>
                <a:solidFill>
                  <a:schemeClr val="tx1"/>
                </a:solidFill>
              </a:defRPr>
            </a:lvl3pPr>
            <a:lvl4pPr>
              <a:buClrTx/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845305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BD4629-B2F8-DD40-968A-B631872631E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080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 dirty="0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6"/>
            <a:ext cx="3726013" cy="208269"/>
          </a:xfrm>
          <a:prstGeom prst="rect">
            <a:avLst/>
          </a:prstGeom>
        </p:spPr>
        <p:txBody>
          <a:bodyPr vert="horz" lIns="91412" tIns="0" rIns="91412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tr-TR" sz="800" dirty="0">
                <a:solidFill>
                  <a:prstClr val="white">
                    <a:lumMod val="65000"/>
                  </a:prstClr>
                </a:solidFill>
              </a:rPr>
              <a:t>Confidential  – for MetLife internal use only</a:t>
            </a:r>
            <a:endParaRPr lang="en-US" sz="800" dirty="0">
              <a:solidFill>
                <a:prstClr val="white">
                  <a:lumMod val="65000"/>
                </a:prstClr>
              </a:solidFill>
              <a:ea typeface="Arial" charset="0"/>
              <a:cs typeface="Arial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912" y="204857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8799" y="870153"/>
            <a:ext cx="9259359" cy="479067"/>
          </a:xfrm>
        </p:spPr>
        <p:txBody>
          <a:bodyPr tIns="0" bIns="0" anchor="t">
            <a:noAutofit/>
          </a:bodyPr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18485675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600" r="9369" b="25266"/>
          <a:stretch>
            <a:fillRect/>
          </a:stretch>
        </p:blipFill>
        <p:spPr bwMode="auto">
          <a:xfrm>
            <a:off x="719667" y="730251"/>
            <a:ext cx="2933700" cy="692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600" r="9369" b="25266"/>
          <a:stretch>
            <a:fillRect/>
          </a:stretch>
        </p:blipFill>
        <p:spPr bwMode="auto">
          <a:xfrm>
            <a:off x="719667" y="730251"/>
            <a:ext cx="2933700" cy="692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0" y="6320367"/>
            <a:ext cx="7926917" cy="5609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926918" y="6320367"/>
            <a:ext cx="1223433" cy="5609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150351" y="6320367"/>
            <a:ext cx="2472267" cy="5609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1622618" y="6320367"/>
            <a:ext cx="569383" cy="5609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pic>
        <p:nvPicPr>
          <p:cNvPr id="12" name="metlife_eng_tagline_cmyk.jpg" descr="/Users/ldorion/Desktop/PPT/Assets/metlife_eng_tagline_cmyk.jpg"/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2984" y="956734"/>
            <a:ext cx="2675467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/>
          </p:nvPr>
        </p:nvSpPr>
        <p:spPr>
          <a:xfrm>
            <a:off x="644017" y="4995335"/>
            <a:ext cx="6315584" cy="397933"/>
          </a:xfrm>
        </p:spPr>
        <p:txBody>
          <a:bodyPr tIns="0" bIns="0" anchor="ctr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/>
          </p:nvPr>
        </p:nvSpPr>
        <p:spPr>
          <a:xfrm>
            <a:off x="644016" y="5477925"/>
            <a:ext cx="6315584" cy="389475"/>
          </a:xfrm>
        </p:spPr>
        <p:txBody>
          <a:bodyPr tIns="0" bIns="0" anchor="ctr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197126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7926917" cy="5609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926918" y="0"/>
            <a:ext cx="1223433" cy="5609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150351" y="0"/>
            <a:ext cx="2472267" cy="5609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622618" y="0"/>
            <a:ext cx="569383" cy="5609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37"/>
            <a:ext cx="11247907" cy="700548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0065" y="3474381"/>
            <a:ext cx="11251852" cy="479067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929374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59833" y="186901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6000"/>
              </a:lnSpc>
              <a:defRPr sz="2933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094815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667"/>
            <a:ext cx="850900" cy="34247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973667"/>
            <a:ext cx="850900" cy="34247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43950" y="998116"/>
            <a:ext cx="7862324" cy="3401253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029921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667"/>
            <a:ext cx="850900" cy="34247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973667"/>
            <a:ext cx="850900" cy="34247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43950" y="998116"/>
            <a:ext cx="7862324" cy="3401253"/>
          </a:xfrm>
        </p:spPr>
        <p:txBody>
          <a:bodyPr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9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4880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667"/>
            <a:ext cx="850900" cy="342476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973667"/>
            <a:ext cx="850900" cy="34247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3950" y="998116"/>
            <a:ext cx="7862324" cy="3401253"/>
          </a:xfrm>
        </p:spPr>
        <p:txBody>
          <a:bodyPr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8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301999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9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3115690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Color Bar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9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608957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7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169986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posing Id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8354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99313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6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Opposing ideas </a:t>
            </a:r>
            <a:br>
              <a:rPr lang="en-US" dirty="0"/>
            </a:br>
            <a:r>
              <a:rPr lang="en-US" dirty="0"/>
              <a:t>with statements supported by graphics/imag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2pPr>
            <a:lvl3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3pPr>
            <a:lvl4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4pPr>
            <a:lvl5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5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Opposing ideas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with statements supported by graphics/images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CF153760-0266-D144-95C5-71B72E3DF8A8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8391368-8E4D-9147-B145-DF1372B4EE6E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0101C57-35E1-494B-BF13-8B3A6E812463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1091383-DEC4-204D-8A36-56BD8FFBC30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897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58876" y="206478"/>
            <a:ext cx="9259257" cy="1136901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9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127559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6478"/>
            <a:ext cx="9259257" cy="1136901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7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369089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185" y="1435100"/>
            <a:ext cx="1830916" cy="613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578100" y="1435100"/>
            <a:ext cx="1830917" cy="613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790018" y="1432985"/>
            <a:ext cx="1830916" cy="613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004051" y="1435100"/>
            <a:ext cx="1828800" cy="613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15967" y="1435100"/>
            <a:ext cx="1828800" cy="613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371122" y="1032008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2578921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7024012" y="1032008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9215142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/>
          </p:nvPr>
        </p:nvSpPr>
        <p:spPr>
          <a:xfrm>
            <a:off x="4790994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ooter Placeholder 1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18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7305690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292601" y="1020233"/>
            <a:ext cx="1858433" cy="414867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359834" y="1032008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232423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4284951" y="1032008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25987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8227695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14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128017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8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786750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6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495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37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8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0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7487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13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247694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922909"/>
            <a:ext cx="3590081" cy="766952"/>
          </a:xfrm>
        </p:spPr>
        <p:txBody>
          <a:bodyPr tIns="0" bIns="0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356418" y="3344463"/>
            <a:ext cx="3590081" cy="766952"/>
          </a:xfrm>
        </p:spPr>
        <p:txBody>
          <a:bodyPr tIns="0" bIns="0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56418" y="4798501"/>
            <a:ext cx="3590081" cy="766952"/>
          </a:xfrm>
        </p:spPr>
        <p:txBody>
          <a:bodyPr tIns="0" bIns="0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886935" y="1838241"/>
            <a:ext cx="7255468" cy="1150620"/>
          </a:xfrm>
        </p:spPr>
        <p:txBody>
          <a:bodyPr tIns="0" bIns="0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8"/>
          </p:nvPr>
        </p:nvSpPr>
        <p:spPr>
          <a:xfrm>
            <a:off x="3886935" y="3270084"/>
            <a:ext cx="7255468" cy="1172816"/>
          </a:xfrm>
        </p:spPr>
        <p:txBody>
          <a:bodyPr tIns="0" bIns="0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9"/>
          </p:nvPr>
        </p:nvSpPr>
        <p:spPr>
          <a:xfrm>
            <a:off x="3886935" y="4713833"/>
            <a:ext cx="7255468" cy="1393455"/>
          </a:xfrm>
        </p:spPr>
        <p:txBody>
          <a:bodyPr tIns="0" bIns="0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7487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Footer Placeholder 1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18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300228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58876" y="206478"/>
            <a:ext cx="9259257" cy="1136901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16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57668814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4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675229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>
              <a:defRPr sz="2267">
                <a:solidFill>
                  <a:schemeClr val="bg2"/>
                </a:solidFill>
              </a:defRPr>
            </a:lvl1pPr>
            <a:lvl2pPr>
              <a:defRPr sz="2267">
                <a:solidFill>
                  <a:schemeClr val="bg2"/>
                </a:solidFill>
              </a:defRPr>
            </a:lvl2pPr>
            <a:lvl3pPr>
              <a:defRPr sz="2267">
                <a:solidFill>
                  <a:schemeClr val="bg2"/>
                </a:solidFill>
              </a:defRPr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055854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593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15744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" y="0"/>
            <a:ext cx="103659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 dirty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3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 dirty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/>
        </p:nvSpPr>
        <p:spPr>
          <a:xfrm>
            <a:off x="10818581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604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 preferRelativeResize="0"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1140" y="947490"/>
            <a:ext cx="2314409" cy="159343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444027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8" name="Rectangle 17"/>
          <p:cNvSpPr/>
          <p:nvPr/>
        </p:nvSpPr>
        <p:spPr>
          <a:xfrm>
            <a:off x="7927258" y="6444027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9" name="Rectangle 18"/>
          <p:cNvSpPr/>
          <p:nvPr/>
        </p:nvSpPr>
        <p:spPr>
          <a:xfrm>
            <a:off x="9151373" y="6444027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20" name="Rectangle 19"/>
          <p:cNvSpPr/>
          <p:nvPr/>
        </p:nvSpPr>
        <p:spPr>
          <a:xfrm>
            <a:off x="11621915" y="6444027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44022" y="3704884"/>
            <a:ext cx="10861521" cy="77421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577048"/>
            <a:ext cx="6315584" cy="325152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53002"/>
            <a:ext cx="6315584" cy="298451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314946"/>
            <a:ext cx="6315584" cy="292107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7" name="Picture 1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9FF351F-98B1-4157-82C7-4D1D6C2F09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449" y="411416"/>
            <a:ext cx="3619219" cy="1054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4514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43"/>
            <a:ext cx="11247907" cy="603863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6" y="3385487"/>
            <a:ext cx="1125185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4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2" name="Rectangle 11"/>
          <p:cNvSpPr/>
          <p:nvPr/>
        </p:nvSpPr>
        <p:spPr>
          <a:xfrm>
            <a:off x="7927258" y="4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/>
        </p:nvSpPr>
        <p:spPr>
          <a:xfrm>
            <a:off x="9151373" y="4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4" name="Rectangle 13"/>
          <p:cNvSpPr/>
          <p:nvPr/>
        </p:nvSpPr>
        <p:spPr>
          <a:xfrm>
            <a:off x="11621915" y="4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424468470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82" y="20483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4" y="1869024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4500"/>
              </a:lnSpc>
              <a:defRPr sz="2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5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45880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Slide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43"/>
            <a:ext cx="11247907" cy="603863"/>
          </a:xfrm>
        </p:spPr>
        <p:txBody>
          <a:bodyPr anchor="t"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6" y="3385487"/>
            <a:ext cx="1125185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007EB3-049D-4A79-9F83-B6347F21D860}"/>
              </a:ext>
            </a:extLst>
          </p:cNvPr>
          <p:cNvSpPr/>
          <p:nvPr/>
        </p:nvSpPr>
        <p:spPr>
          <a:xfrm>
            <a:off x="277640" y="6415345"/>
            <a:ext cx="1482715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38C543E-47EE-4AB2-A15A-107700E59F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248" y="6356597"/>
            <a:ext cx="1532809" cy="446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80339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81284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67436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" y="973193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320903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8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82" y="20483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5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82292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82" y="204835"/>
            <a:ext cx="11470980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707269"/>
            <a:ext cx="11478097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9749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15924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82" y="206478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7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656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8882" y="206478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597012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2" y="20483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5" y="1032010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5" y="1032010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2" y="1032010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5" y="1032010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4" name="Rectangle 3"/>
          <p:cNvSpPr/>
          <p:nvPr/>
        </p:nvSpPr>
        <p:spPr>
          <a:xfrm>
            <a:off x="366852" y="1434906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/>
          <p:cNvSpPr/>
          <p:nvPr/>
        </p:nvSpPr>
        <p:spPr>
          <a:xfrm>
            <a:off x="2578925" y="1434906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Rectangle 19"/>
          <p:cNvSpPr/>
          <p:nvPr/>
        </p:nvSpPr>
        <p:spPr>
          <a:xfrm>
            <a:off x="4791004" y="1433858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Rectangle 20"/>
          <p:cNvSpPr/>
          <p:nvPr/>
        </p:nvSpPr>
        <p:spPr>
          <a:xfrm>
            <a:off x="7003067" y="1434906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Rectangle 26"/>
          <p:cNvSpPr/>
          <p:nvPr/>
        </p:nvSpPr>
        <p:spPr>
          <a:xfrm>
            <a:off x="9215145" y="1434906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1004" y="1032010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8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60655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2" y="20483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10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6" y="1032010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10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10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10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8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028765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6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6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82" y="20483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55353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8" y="1845870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507" y="1845870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50" y="1845870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82" y="20483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9" y="2659254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1" y="2659254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659254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353132" y="857365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91549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2" y="20483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5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56418" y="1920549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56418" y="3181452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356418" y="4466716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4090141" y="1857049"/>
            <a:ext cx="7255468" cy="862965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8"/>
          </p:nvPr>
        </p:nvSpPr>
        <p:spPr>
          <a:xfrm>
            <a:off x="4090141" y="3125663"/>
            <a:ext cx="7255468" cy="879612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9"/>
          </p:nvPr>
        </p:nvSpPr>
        <p:spPr>
          <a:xfrm>
            <a:off x="4090141" y="4403210"/>
            <a:ext cx="7255468" cy="1045091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361478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7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58882" y="206478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454960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5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47018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Slide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3" y="3316114"/>
            <a:ext cx="11247907" cy="700548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6" y="4028860"/>
            <a:ext cx="11251852" cy="479067"/>
          </a:xfrm>
        </p:spPr>
        <p:txBody>
          <a:bodyPr lIns="91440" tIns="0" rIns="91440" bIns="0" anchor="t" anchorCtr="0">
            <a:noAutofit/>
          </a:bodyPr>
          <a:lstStyle>
            <a:lvl1pPr>
              <a:defRPr sz="24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5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FD8EA8-9CDF-498D-B9DE-685E1F739E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1898" y="603252"/>
            <a:ext cx="1500411" cy="2574551"/>
          </a:xfrm>
        </p:spPr>
        <p:txBody>
          <a:bodyPr wrap="none" lIns="0" tIns="0" rIns="0" bIns="0">
            <a:noAutofit/>
          </a:bodyPr>
          <a:lstStyle>
            <a:lvl1pPr>
              <a:lnSpc>
                <a:spcPct val="70000"/>
              </a:lnSpc>
              <a:defRPr sz="239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99024B-1A0B-4857-AD77-7EDDD1678540}"/>
              </a:ext>
            </a:extLst>
          </p:cNvPr>
          <p:cNvSpPr/>
          <p:nvPr/>
        </p:nvSpPr>
        <p:spPr>
          <a:xfrm>
            <a:off x="277640" y="6415345"/>
            <a:ext cx="1482715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ACBDE3-8C3F-461B-AAF4-1158F81750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248" y="6356597"/>
            <a:ext cx="1532809" cy="446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36693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303422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21" y="457201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1" y="1371601"/>
            <a:ext cx="9452849" cy="4838700"/>
          </a:xfrm>
        </p:spPr>
        <p:txBody>
          <a:bodyPr/>
          <a:lstStyle>
            <a:lvl1pPr>
              <a:defRPr sz="1700">
                <a:solidFill>
                  <a:schemeClr val="bg2"/>
                </a:solidFill>
              </a:defRPr>
            </a:lvl1pPr>
            <a:lvl2pPr>
              <a:defRPr sz="1700">
                <a:solidFill>
                  <a:schemeClr val="bg2"/>
                </a:solidFill>
              </a:defRPr>
            </a:lvl2pPr>
            <a:lvl3pPr>
              <a:defRPr sz="1700">
                <a:solidFill>
                  <a:schemeClr val="bg2"/>
                </a:solidFill>
              </a:defRPr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6743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posing Id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8355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99314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CF153760-0266-D144-95C5-71B72E3DF8A8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rgbClr val="75787B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smtClean="0">
                <a:solidFill>
                  <a:srgbClr val="75787B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dirty="0">
              <a:solidFill>
                <a:srgbClr val="75787B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67" t="2197"/>
          <a:stretch/>
        </p:blipFill>
        <p:spPr bwMode="auto">
          <a:xfrm>
            <a:off x="8354" y="0"/>
            <a:ext cx="6092687" cy="621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8391368-8E4D-9147-B145-DF1372B4EE6E}"/>
              </a:ext>
            </a:extLst>
          </p:cNvPr>
          <p:cNvSpPr txBox="1">
            <a:spLocks/>
          </p:cNvSpPr>
          <p:nvPr/>
        </p:nvSpPr>
        <p:spPr>
          <a:xfrm>
            <a:off x="8924074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dirty="0">
                <a:solidFill>
                  <a:srgbClr val="75787B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dirty="0">
              <a:solidFill>
                <a:srgbClr val="75787B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1091383-DEC4-204D-8A36-56BD8FFBC30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5" cy="37914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7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Opposing ideas </a:t>
            </a:r>
            <a:br>
              <a:rPr lang="en-US" dirty="0"/>
            </a:br>
            <a:r>
              <a:rPr lang="en-US" dirty="0"/>
              <a:t>with statements supported by graphics/images</a:t>
            </a:r>
          </a:p>
        </p:txBody>
      </p:sp>
      <p:pic>
        <p:nvPicPr>
          <p:cNvPr id="4099" name="Picture 3" descr="D:\MyFiles\jhazan1\Pictures\Boy and Dad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10" r="17389"/>
          <a:stretch/>
        </p:blipFill>
        <p:spPr bwMode="auto">
          <a:xfrm>
            <a:off x="6099314" y="0"/>
            <a:ext cx="6092687" cy="6210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2pPr>
            <a:lvl3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3pPr>
            <a:lvl4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4pPr>
            <a:lvl5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5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Opposing ideas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with statements supported by graphics/images</a:t>
            </a:r>
          </a:p>
        </p:txBody>
      </p:sp>
    </p:spTree>
    <p:extLst>
      <p:ext uri="{BB962C8B-B14F-4D97-AF65-F5344CB8AC3E}">
        <p14:creationId xmlns:p14="http://schemas.microsoft.com/office/powerpoint/2010/main" val="261617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360036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079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2128D92-AA66-A049-A528-5B202C14A7D1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B09D78D-265C-6040-B686-E6DCD4807E7C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871819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1036589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362008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2411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866694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/>
        </p:nvSpPr>
        <p:spPr>
          <a:xfrm>
            <a:off x="10360036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369F17-56A0-BB4D-AC17-65EDADA7B8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2218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03658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086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D0D8946D-F449-5F4C-804E-200176634BDF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27EE6175-3C10-4349-90EA-276AA47F3390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883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0417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|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6094344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53751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 with 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87074" y="0"/>
            <a:ext cx="610492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D95ED186-43FB-524C-BA1D-FE9206B5EE21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E644EB67-7A01-0445-BE7F-7139E2D0ADE7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138C220-F154-1547-B8B8-038AF7C8FDEE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0768B1-8C76-EF4E-AD7C-DD7331E615F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497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4491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/>
            </a:lvl3pPr>
            <a:lvl4pPr marL="398463" indent="-200025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54714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615581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804417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BD4629-B2F8-DD40-968A-B631872631E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813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posing Id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8354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99313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6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Opposing ideas </a:t>
            </a:r>
            <a:br>
              <a:rPr lang="en-US" dirty="0"/>
            </a:br>
            <a:r>
              <a:rPr lang="en-US" dirty="0"/>
              <a:t>with statements supported by graphics/imag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2pPr>
            <a:lvl3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3pPr>
            <a:lvl4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4pPr>
            <a:lvl5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5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Opposing ideas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with statements supported by graphics/images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CF153760-0266-D144-95C5-71B72E3DF8A8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8391368-8E4D-9147-B145-DF1372B4EE6E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0101C57-35E1-494B-BF13-8B3A6E812463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1091383-DEC4-204D-8A36-56BD8FFBC30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06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593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0844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36175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19349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|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-1" y="0"/>
            <a:ext cx="6304907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53751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 with Imag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D95ED186-43FB-524C-BA1D-FE9206B5EE21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E644EB67-7A01-0445-BE7F-7139E2D0ADE7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138C220-F154-1547-B8B8-038AF7C8FDEE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>
                <a:solidFill>
                  <a:schemeClr val="tx1"/>
                </a:solidFill>
                <a:latin typeface="Arial" charset="0"/>
                <a:cs typeface="Arial" charset="0"/>
              </a:rPr>
              <a:t>UAE engagement strategy / Pursuit of Life update</a:t>
            </a:r>
            <a:endParaRPr lang="en-US" sz="800" b="0" i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0768B1-8C76-EF4E-AD7C-DD7331E615F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220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0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900323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0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62011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20666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3942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" y="6260354"/>
            <a:ext cx="12191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1016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9" y="1696286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2"/>
            </a:lvl1pPr>
            <a:lvl2pPr>
              <a:lnSpc>
                <a:spcPct val="140000"/>
              </a:lnSpc>
              <a:defRPr sz="2932"/>
            </a:lvl2pPr>
            <a:lvl3pPr>
              <a:lnSpc>
                <a:spcPct val="140000"/>
              </a:lnSpc>
              <a:defRPr sz="2932"/>
            </a:lvl3pPr>
            <a:lvl4pPr>
              <a:lnSpc>
                <a:spcPct val="140000"/>
              </a:lnSpc>
              <a:defRPr sz="2932"/>
            </a:lvl4pPr>
            <a:lvl5pPr>
              <a:lnSpc>
                <a:spcPct val="140000"/>
              </a:lnSpc>
              <a:defRPr sz="2932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8" y="100696"/>
            <a:ext cx="3726013" cy="208269"/>
          </a:xfrm>
          <a:prstGeom prst="rect">
            <a:avLst/>
          </a:prstGeom>
        </p:spPr>
        <p:txBody>
          <a:bodyPr vert="horz" lIns="121888" tIns="0" rIns="121888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8" y="204831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3" y="882765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81761289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6479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8" y="100696"/>
            <a:ext cx="3726013" cy="208269"/>
          </a:xfrm>
          <a:prstGeom prst="rect">
            <a:avLst/>
          </a:prstGeom>
        </p:spPr>
        <p:txBody>
          <a:bodyPr vert="horz" lIns="121888" tIns="0" rIns="121888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3" y="1427482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9" y="1977232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2"/>
            </a:lvl1pPr>
            <a:lvl2pPr>
              <a:lnSpc>
                <a:spcPct val="140000"/>
              </a:lnSpc>
              <a:defRPr sz="2932"/>
            </a:lvl2pPr>
            <a:lvl3pPr>
              <a:lnSpc>
                <a:spcPct val="140000"/>
              </a:lnSpc>
              <a:defRPr sz="2932"/>
            </a:lvl3pPr>
            <a:lvl4pPr>
              <a:lnSpc>
                <a:spcPct val="140000"/>
              </a:lnSpc>
              <a:defRPr sz="2932"/>
            </a:lvl4pPr>
            <a:lvl5pPr>
              <a:lnSpc>
                <a:spcPct val="140000"/>
              </a:lnSpc>
              <a:defRPr sz="2932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463737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">
    <p:spTree>
      <p:nvGrpSpPr>
        <p:cNvPr id="1" name="Shape 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Shape 44"/>
          <p:cNvSpPr txBox="1">
            <a:spLocks noGrp="1"/>
          </p:cNvSpPr>
          <p:nvPr>
            <p:ph type="body" idx="1"/>
          </p:nvPr>
        </p:nvSpPr>
        <p:spPr>
          <a:xfrm>
            <a:off x="356417" y="1696283"/>
            <a:ext cx="11442400" cy="42812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140000"/>
              </a:lnSpc>
              <a:spcBef>
                <a:spcPts val="1000"/>
              </a:spcBef>
              <a:buClr>
                <a:schemeClr val="dk1"/>
              </a:buClr>
              <a:buFont typeface="Arial"/>
              <a:buNone/>
              <a:defRPr sz="29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74568" marR="0" lvl="1" indent="11638" algn="l" rtl="0">
              <a:lnSpc>
                <a:spcPct val="14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9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403093" marR="0" lvl="2" indent="-47609" algn="l" rtl="0">
              <a:lnSpc>
                <a:spcPct val="14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−"/>
              <a:defRPr sz="29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71315" marR="0" lvl="3" indent="4232" algn="l" rtl="0">
              <a:lnSpc>
                <a:spcPct val="14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9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47471" marR="0" lvl="4" indent="-53429" algn="l" rtl="0">
              <a:lnSpc>
                <a:spcPct val="14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−"/>
              <a:defRPr sz="29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3783" marR="0" lvl="5" indent="-110031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0834" marR="0" lvl="6" indent="-110031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7885" marR="0" lvl="7" indent="-110031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4937" marR="0" lvl="8" indent="-110031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Shape 45"/>
          <p:cNvSpPr txBox="1">
            <a:spLocks noGrp="1"/>
          </p:cNvSpPr>
          <p:nvPr>
            <p:ph type="title"/>
          </p:nvPr>
        </p:nvSpPr>
        <p:spPr>
          <a:xfrm>
            <a:off x="358876" y="204828"/>
            <a:ext cx="9259200" cy="6580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Georgia"/>
              <a:buNone/>
              <a:defRPr sz="3732" b="1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indent="0" rtl="0">
              <a:spcBef>
                <a:spcPts val="0"/>
              </a:spcBef>
              <a:buNone/>
              <a:defRPr sz="2399"/>
            </a:lvl2pPr>
            <a:lvl3pPr lvl="2" indent="0" rtl="0">
              <a:spcBef>
                <a:spcPts val="0"/>
              </a:spcBef>
              <a:buNone/>
              <a:defRPr sz="2399"/>
            </a:lvl3pPr>
            <a:lvl4pPr lvl="3" indent="0" rtl="0">
              <a:spcBef>
                <a:spcPts val="0"/>
              </a:spcBef>
              <a:buNone/>
              <a:defRPr sz="2399"/>
            </a:lvl4pPr>
            <a:lvl5pPr lvl="4" indent="0" rtl="0">
              <a:spcBef>
                <a:spcPts val="0"/>
              </a:spcBef>
              <a:buNone/>
              <a:defRPr sz="2399"/>
            </a:lvl5pPr>
            <a:lvl6pPr lvl="5" indent="0" rtl="0">
              <a:spcBef>
                <a:spcPts val="0"/>
              </a:spcBef>
              <a:buNone/>
              <a:defRPr sz="2399"/>
            </a:lvl6pPr>
            <a:lvl7pPr lvl="6" indent="0" rtl="0">
              <a:spcBef>
                <a:spcPts val="0"/>
              </a:spcBef>
              <a:buNone/>
              <a:defRPr sz="2399"/>
            </a:lvl7pPr>
            <a:lvl8pPr lvl="7" indent="0" rtl="0">
              <a:spcBef>
                <a:spcPts val="0"/>
              </a:spcBef>
              <a:buNone/>
              <a:defRPr sz="2399"/>
            </a:lvl8pPr>
            <a:lvl9pPr lvl="8" indent="0" rtl="0">
              <a:spcBef>
                <a:spcPts val="0"/>
              </a:spcBef>
              <a:buNone/>
              <a:defRPr sz="2399"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6" name="Shape 46"/>
          <p:cNvSpPr txBox="1"/>
          <p:nvPr/>
        </p:nvSpPr>
        <p:spPr>
          <a:xfrm>
            <a:off x="8465987" y="100693"/>
            <a:ext cx="3726000" cy="208400"/>
          </a:xfrm>
          <a:prstGeom prst="rect">
            <a:avLst/>
          </a:prstGeom>
          <a:noFill/>
          <a:ln>
            <a:noFill/>
          </a:ln>
        </p:spPr>
        <p:txBody>
          <a:bodyPr wrap="square" lIns="121868" tIns="0" rIns="121868" bIns="0" anchor="t" anchorCtr="0">
            <a:no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buClr>
                <a:srgbClr val="ABAEAF"/>
              </a:buClr>
              <a:buSzPct val="25000"/>
              <a:buFont typeface="Arial"/>
              <a:buNone/>
            </a:pPr>
            <a:r>
              <a:rPr lang="en-US" sz="1133" b="0" i="0" u="none" strike="noStrike" cap="none">
                <a:solidFill>
                  <a:srgbClr val="ABAEAF"/>
                </a:solidFill>
                <a:latin typeface="Arial"/>
                <a:ea typeface="Arial"/>
                <a:cs typeface="Arial"/>
                <a:sym typeface="Arial"/>
              </a:rPr>
              <a:t>Confidential – for MetLife internal use only</a:t>
            </a:r>
          </a:p>
        </p:txBody>
      </p:sp>
      <p:sp>
        <p:nvSpPr>
          <p:cNvPr id="47" name="Shape 47"/>
          <p:cNvSpPr txBox="1">
            <a:spLocks noGrp="1"/>
          </p:cNvSpPr>
          <p:nvPr>
            <p:ph type="ftr" idx="11"/>
          </p:nvPr>
        </p:nvSpPr>
        <p:spPr>
          <a:xfrm>
            <a:off x="1624888" y="6527425"/>
            <a:ext cx="4114800" cy="144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800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052" marR="0" lvl="1" indent="0" algn="l" rtl="0">
              <a:spcBef>
                <a:spcPts val="0"/>
              </a:spcBef>
              <a:buNone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103" marR="0" lvl="2" indent="0" algn="l" rtl="0">
              <a:spcBef>
                <a:spcPts val="0"/>
              </a:spcBef>
              <a:buNone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155" marR="0" lvl="3" indent="0" algn="l" rtl="0">
              <a:spcBef>
                <a:spcPts val="0"/>
              </a:spcBef>
              <a:buNone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205" marR="0" lvl="4" indent="0" algn="l" rtl="0">
              <a:spcBef>
                <a:spcPts val="0"/>
              </a:spcBef>
              <a:buNone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5257" marR="0" lvl="5" indent="0" algn="l" rtl="0">
              <a:spcBef>
                <a:spcPts val="0"/>
              </a:spcBef>
              <a:buNone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2308" marR="0" lvl="6" indent="0" algn="l" rtl="0">
              <a:spcBef>
                <a:spcPts val="0"/>
              </a:spcBef>
              <a:buNone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199360" marR="0" lvl="7" indent="0" algn="l" rtl="0">
              <a:spcBef>
                <a:spcPts val="0"/>
              </a:spcBef>
              <a:buNone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6412" marR="0" lvl="8" indent="0" algn="l" rtl="0">
              <a:spcBef>
                <a:spcPts val="0"/>
              </a:spcBef>
              <a:buNone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8" name="Shape 48"/>
          <p:cNvSpPr txBox="1">
            <a:spLocks noGrp="1"/>
          </p:cNvSpPr>
          <p:nvPr>
            <p:ph type="sldNum" idx="12"/>
          </p:nvPr>
        </p:nvSpPr>
        <p:spPr>
          <a:xfrm>
            <a:off x="11142403" y="6415343"/>
            <a:ext cx="904400" cy="365200"/>
          </a:xfrm>
          <a:prstGeom prst="rect">
            <a:avLst/>
          </a:prstGeom>
          <a:noFill/>
          <a:ln>
            <a:noFill/>
          </a:ln>
        </p:spPr>
        <p:txBody>
          <a:bodyPr wrap="square" lIns="68575" tIns="34275" rIns="68575" bIns="34275" anchor="ctr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en-US" sz="800" smtClean="0">
                <a:solidFill>
                  <a:srgbClr val="888888"/>
                </a:solidFill>
                <a:ea typeface="Arial"/>
                <a:cs typeface="Arial"/>
                <a:sym typeface="Arial"/>
              </a:rPr>
              <a:pPr algn="r">
                <a:buSzPct val="25000"/>
              </a:pPr>
              <a:t>‹#›</a:t>
            </a:fld>
            <a:endParaRPr lang="en-US" sz="800">
              <a:solidFill>
                <a:srgbClr val="888888"/>
              </a:solidFill>
              <a:ea typeface="Arial"/>
              <a:cs typeface="Arial"/>
              <a:sym typeface="Arial"/>
            </a:endParaRPr>
          </a:p>
        </p:txBody>
      </p:sp>
      <p:sp>
        <p:nvSpPr>
          <p:cNvPr id="49" name="Shape 49"/>
          <p:cNvSpPr txBox="1">
            <a:spLocks noGrp="1"/>
          </p:cNvSpPr>
          <p:nvPr>
            <p:ph type="body" idx="2"/>
          </p:nvPr>
        </p:nvSpPr>
        <p:spPr>
          <a:xfrm>
            <a:off x="353132" y="872067"/>
            <a:ext cx="9265200" cy="396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b" anchorCtr="0"/>
          <a:lstStyle>
            <a:lvl1pPr marL="0" marR="0" lvl="0" indent="0" algn="l" rtl="0">
              <a:lnSpc>
                <a:spcPct val="140000"/>
              </a:lnSpc>
              <a:spcBef>
                <a:spcPts val="1000"/>
              </a:spcBef>
              <a:buClr>
                <a:schemeClr val="accent3"/>
              </a:buClr>
              <a:buFont typeface="Arial"/>
              <a:buNone/>
              <a:defRPr sz="2399" b="0" i="0" u="none" strike="noStrike" cap="none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174568" marR="0" lvl="1" indent="11638" algn="l" rtl="0">
              <a:lnSpc>
                <a:spcPct val="14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9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403093" marR="0" lvl="2" indent="-47609" algn="l" rtl="0">
              <a:lnSpc>
                <a:spcPct val="14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−"/>
              <a:defRPr sz="29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571315" marR="0" lvl="3" indent="4232" algn="l" rtl="0">
              <a:lnSpc>
                <a:spcPct val="14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29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747471" marR="0" lvl="4" indent="-53429" algn="l" rtl="0">
              <a:lnSpc>
                <a:spcPct val="14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−"/>
              <a:defRPr sz="2932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513783" marR="0" lvl="5" indent="-110031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970834" marR="0" lvl="6" indent="-110031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7885" marR="0" lvl="7" indent="-110031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84937" marR="0" lvl="8" indent="-110031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/>
              <a:buChar char="•"/>
              <a:defRPr sz="1866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46620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2" y="6415344"/>
            <a:ext cx="904568" cy="365125"/>
          </a:xfrm>
          <a:prstGeom prst="rect">
            <a:avLst/>
          </a:prstGeom>
        </p:spPr>
        <p:txBody>
          <a:bodyPr lIns="121899" tIns="60949" rIns="121899" bIns="60949"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899" tIns="0" rIns="121899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1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4"/>
            <a:ext cx="9265003" cy="479067"/>
          </a:xfrm>
        </p:spPr>
        <p:txBody>
          <a:bodyPr lIns="121899" tIns="0" rIns="121899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844650852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2" y="6415344"/>
            <a:ext cx="904568" cy="365125"/>
          </a:xfrm>
          <a:prstGeom prst="rect">
            <a:avLst/>
          </a:prstGeom>
        </p:spPr>
        <p:txBody>
          <a:bodyPr lIns="121899" tIns="60949" rIns="121899" bIns="60949"/>
          <a:lstStyle/>
          <a:p>
            <a:fld id="{3A5D2E96-09D4-684C-BDED-6024B7F4284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4" tIns="45712" rIns="91424" bIns="457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1" y="998117"/>
            <a:ext cx="7862324" cy="3401253"/>
          </a:xfrm>
        </p:spPr>
        <p:txBody>
          <a:bodyPr anchor="t">
            <a:noAutofit/>
          </a:bodyPr>
          <a:lstStyle>
            <a:lvl1pPr algn="l">
              <a:defRPr sz="37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2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24" tIns="45712" rIns="91424" bIns="4571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899" tIns="0" rIns="121899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1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66107787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360036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585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2128D92-AA66-A049-A528-5B202C14A7D1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B09D78D-265C-6040-B686-E6DCD4807E7C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1093055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74563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1036589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362008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694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283714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/>
        </p:nvSpPr>
        <p:spPr>
          <a:xfrm>
            <a:off x="10360036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369F17-56A0-BB4D-AC17-65EDADA7B8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826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03658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016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D0D8946D-F449-5F4C-804E-200176634BDF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27EE6175-3C10-4349-90EA-276AA47F3390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372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65064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4491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/>
            </a:lvl3pPr>
            <a:lvl4pPr marL="398463" indent="-200025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2390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4767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25164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BD4629-B2F8-DD40-968A-B631872631E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95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2128D92-AA66-A049-A528-5B202C14A7D1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B09D78D-265C-6040-B686-E6DCD4807E7C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67507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8222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Opposing Id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8354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99313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6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Opposing ideas </a:t>
            </a:r>
            <a:br>
              <a:rPr lang="en-US" dirty="0"/>
            </a:br>
            <a:r>
              <a:rPr lang="en-US" dirty="0"/>
              <a:t>with statements supported by graphics/imag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2pPr>
            <a:lvl3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3pPr>
            <a:lvl4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4pPr>
            <a:lvl5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5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Opposing ideas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with statements supported by graphics/images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CF153760-0266-D144-95C5-71B72E3DF8A8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8391368-8E4D-9147-B145-DF1372B4EE6E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0101C57-35E1-494B-BF13-8B3A6E812463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1091383-DEC4-204D-8A36-56BD8FFBC30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27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593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83399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34713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387940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|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6094344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53751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 with 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87074" y="0"/>
            <a:ext cx="610492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D95ED186-43FB-524C-BA1D-FE9206B5EE21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E644EB67-7A01-0445-BE7F-7139E2D0ADE7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138C220-F154-1547-B8B8-038AF7C8FDEE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B0768B1-8C76-EF4E-AD7C-DD7331E615F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1746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0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77646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8255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3716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" y="6260354"/>
            <a:ext cx="12191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2008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3" b="0" i="0" u="none" strike="noStrike" kern="1200" cap="none" spc="0" normalizeH="0" baseline="0" noProof="0" dirty="0">
                <a:ln>
                  <a:noFill/>
                </a:ln>
                <a:solidFill>
                  <a:srgbClr val="75787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1133" b="0" i="0" u="none" strike="noStrike" kern="1200" cap="none" spc="0" normalizeH="0" baseline="0" noProof="0" dirty="0">
                <a:ln>
                  <a:noFill/>
                </a:ln>
                <a:solidFill>
                  <a:srgbClr val="75787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1133" b="0" i="0" u="none" strike="noStrike" kern="1200" cap="none" spc="0" normalizeH="0" baseline="0" noProof="0" dirty="0">
                <a:ln>
                  <a:noFill/>
                </a:ln>
                <a:solidFill>
                  <a:srgbClr val="75787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0061A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o edit go to: Insert &gt; Header and Footer  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0061A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84790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" y="6260354"/>
            <a:ext cx="12191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4430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1"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/>
          <p:cNvSpPr txBox="1">
            <a:spLocks/>
          </p:cNvSpPr>
          <p:nvPr/>
        </p:nvSpPr>
        <p:spPr>
          <a:xfrm>
            <a:off x="8465988" y="100696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1067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1067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8" y="204831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3" y="802381"/>
            <a:ext cx="9265003" cy="479067"/>
          </a:xfrm>
        </p:spPr>
        <p:txBody>
          <a:bodyPr lIns="91440" tIns="0" rIns="91440" bIns="0" anchor="t" anchorCtr="0">
            <a:noAutofit/>
          </a:bodyPr>
          <a:lstStyle>
            <a:lvl1pPr>
              <a:defRPr sz="20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572703081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3" y="186901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6000"/>
              </a:lnSpc>
              <a:defRPr sz="2933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17976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632014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27" name="Rectangle 26"/>
          <p:cNvSpPr/>
          <p:nvPr/>
        </p:nvSpPr>
        <p:spPr>
          <a:xfrm>
            <a:off x="7927258" y="632014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28" name="Rectangle 27"/>
          <p:cNvSpPr/>
          <p:nvPr/>
        </p:nvSpPr>
        <p:spPr>
          <a:xfrm>
            <a:off x="9151373" y="632014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29" name="Rectangle 28"/>
          <p:cNvSpPr/>
          <p:nvPr/>
        </p:nvSpPr>
        <p:spPr>
          <a:xfrm>
            <a:off x="11621916" y="632014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95335"/>
            <a:ext cx="6315584" cy="397933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477925"/>
            <a:ext cx="6315584" cy="389475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3" name="metlife_eng_tagline_cmyk.jpg" descr="/Users/ldorion/Desktop/PPT/Assets/metlife_eng_tagline_cmyk.jpg"/>
          <p:cNvPicPr>
            <a:picLocks noChangeAspect="1"/>
          </p:cNvPicPr>
          <p:nvPr/>
        </p:nvPicPr>
        <p:blipFill>
          <a:blip r:embed="rId3" r:link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53469" y="955726"/>
            <a:ext cx="2675467" cy="486833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5A58F58-E8B0-41C1-AD70-DB526299ECBD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400139224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37"/>
            <a:ext cx="11247907" cy="700548"/>
          </a:xfrm>
        </p:spPr>
        <p:txBody>
          <a:bodyPr anchor="t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5" y="3474381"/>
            <a:ext cx="11251852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0" y="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17" name="Rectangle 16"/>
          <p:cNvSpPr/>
          <p:nvPr/>
        </p:nvSpPr>
        <p:spPr>
          <a:xfrm>
            <a:off x="7927258" y="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18" name="Rectangle 17"/>
          <p:cNvSpPr/>
          <p:nvPr/>
        </p:nvSpPr>
        <p:spPr>
          <a:xfrm>
            <a:off x="9151375" y="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23" name="Rectangle 22"/>
          <p:cNvSpPr/>
          <p:nvPr/>
        </p:nvSpPr>
        <p:spPr>
          <a:xfrm>
            <a:off x="11621917" y="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2B0BF6-6F17-4E66-9C74-4E05A279507E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114410200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Slide - 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1037889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02468"/>
            <a:ext cx="10385337" cy="396629"/>
          </a:xfrm>
        </p:spPr>
        <p:txBody>
          <a:bodyPr lIns="91440" tIns="0" rIns="9144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6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A78BD2-3217-4369-8AD3-AF98811A5A7B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427518682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aster Slide - Too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906552" y="204829"/>
            <a:ext cx="1037889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900805" y="761440"/>
            <a:ext cx="11291195" cy="396629"/>
          </a:xfrm>
        </p:spPr>
        <p:txBody>
          <a:bodyPr lIns="91440" tIns="0" rIns="9144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6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A78BD2-3217-4369-8AD3-AF98811A5A7B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893A788-452D-4CA6-BC95-6F50A914B3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3200" y="305275"/>
            <a:ext cx="697605" cy="733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562233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Questio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302126" y="595698"/>
            <a:ext cx="9790948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A78BD2-3217-4369-8AD3-AF98811A5A7B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379574321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Questions Slide No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5602" y="595698"/>
            <a:ext cx="10382173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A78BD2-3217-4369-8AD3-AF98811A5A7B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6846832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bhead on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570665"/>
            <a:ext cx="1037889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208575"/>
            <a:ext cx="10385337" cy="396629"/>
          </a:xfrm>
        </p:spPr>
        <p:txBody>
          <a:bodyPr lIns="91440" tIns="0" rIns="9144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67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4A78BD2-3217-4369-8AD3-AF98811A5A7B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155524546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@M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CA" dirty="0">
                <a:solidFill>
                  <a:srgbClr val="0061A0"/>
                </a:solidFill>
              </a:rPr>
              <a:t>To edit go to: Insert &gt; Header and Footer   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235" y="0"/>
            <a:ext cx="1218776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>
              <a:solidFill>
                <a:srgbClr val="FFFFFF"/>
              </a:solidFill>
            </a:endParaRPr>
          </a:p>
        </p:txBody>
      </p:sp>
      <p:sp>
        <p:nvSpPr>
          <p:cNvPr id="16" name="Text Placeholder 24">
            <a:extLst>
              <a:ext uri="{FF2B5EF4-FFF2-40B4-BE49-F238E27FC236}">
                <a16:creationId xmlns:a16="http://schemas.microsoft.com/office/drawing/2014/main" id="{7AA005A2-2047-4D65-B944-12C992AE9D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5601" y="1891554"/>
            <a:ext cx="4216400" cy="2635439"/>
          </a:xfrm>
        </p:spPr>
        <p:txBody>
          <a:bodyPr/>
          <a:lstStyle>
            <a:lvl1pPr>
              <a:lnSpc>
                <a:spcPct val="90000"/>
              </a:lnSpc>
              <a:spcBef>
                <a:spcPts val="800"/>
              </a:spcBef>
              <a:defRPr b="1">
                <a:solidFill>
                  <a:schemeClr val="tx1"/>
                </a:solidFill>
                <a:latin typeface="+mj-lt"/>
              </a:defRPr>
            </a:lvl1pPr>
            <a:lvl2pPr marL="6351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77A0376-7F25-4B31-9E6E-B8C9BDAF5263}"/>
              </a:ext>
            </a:extLst>
          </p:cNvPr>
          <p:cNvGrpSpPr/>
          <p:nvPr/>
        </p:nvGrpSpPr>
        <p:grpSpPr>
          <a:xfrm>
            <a:off x="5915971" y="508467"/>
            <a:ext cx="5800837" cy="5800837"/>
            <a:chOff x="3967673" y="136354"/>
            <a:chExt cx="4954956" cy="4954956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65EC311-1B7C-4A54-95C4-F22B02EA7F18}"/>
                </a:ext>
              </a:extLst>
            </p:cNvPr>
            <p:cNvGrpSpPr/>
            <p:nvPr/>
          </p:nvGrpSpPr>
          <p:grpSpPr>
            <a:xfrm>
              <a:off x="4325497" y="494178"/>
              <a:ext cx="4239309" cy="4239309"/>
              <a:chOff x="1738367" y="885470"/>
              <a:chExt cx="3642521" cy="3769665"/>
            </a:xfrm>
          </p:grpSpPr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EB7F109F-FE6E-4957-9693-5617647DA0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9673" y="2816159"/>
                <a:ext cx="1227807" cy="1838976"/>
              </a:xfrm>
              <a:custGeom>
                <a:avLst/>
                <a:gdLst>
                  <a:gd name="T0" fmla="*/ 0 w 312"/>
                  <a:gd name="T1" fmla="*/ 312 h 468"/>
                  <a:gd name="T2" fmla="*/ 156 w 312"/>
                  <a:gd name="T3" fmla="*/ 468 h 468"/>
                  <a:gd name="T4" fmla="*/ 312 w 312"/>
                  <a:gd name="T5" fmla="*/ 311 h 468"/>
                  <a:gd name="T6" fmla="*/ 290 w 312"/>
                  <a:gd name="T7" fmla="*/ 232 h 468"/>
                  <a:gd name="T8" fmla="*/ 290 w 312"/>
                  <a:gd name="T9" fmla="*/ 232 h 468"/>
                  <a:gd name="T10" fmla="*/ 155 w 312"/>
                  <a:gd name="T11" fmla="*/ 0 h 468"/>
                  <a:gd name="T12" fmla="*/ 21 w 312"/>
                  <a:gd name="T13" fmla="*/ 233 h 468"/>
                  <a:gd name="T14" fmla="*/ 21 w 312"/>
                  <a:gd name="T15" fmla="*/ 233 h 468"/>
                  <a:gd name="T16" fmla="*/ 0 w 312"/>
                  <a:gd name="T17" fmla="*/ 31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2" h="468">
                    <a:moveTo>
                      <a:pt x="0" y="312"/>
                    </a:moveTo>
                    <a:cubicBezTo>
                      <a:pt x="0" y="398"/>
                      <a:pt x="70" y="468"/>
                      <a:pt x="156" y="468"/>
                    </a:cubicBezTo>
                    <a:cubicBezTo>
                      <a:pt x="242" y="467"/>
                      <a:pt x="312" y="398"/>
                      <a:pt x="312" y="311"/>
                    </a:cubicBezTo>
                    <a:cubicBezTo>
                      <a:pt x="312" y="283"/>
                      <a:pt x="304" y="256"/>
                      <a:pt x="290" y="232"/>
                    </a:cubicBezTo>
                    <a:cubicBezTo>
                      <a:pt x="290" y="232"/>
                      <a:pt x="290" y="232"/>
                      <a:pt x="290" y="232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21" y="233"/>
                      <a:pt x="21" y="233"/>
                      <a:pt x="21" y="233"/>
                    </a:cubicBezTo>
                    <a:cubicBezTo>
                      <a:pt x="21" y="233"/>
                      <a:pt x="21" y="233"/>
                      <a:pt x="21" y="233"/>
                    </a:cubicBezTo>
                    <a:cubicBezTo>
                      <a:pt x="7" y="256"/>
                      <a:pt x="0" y="283"/>
                      <a:pt x="0" y="312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1005840" rIns="91440" bIns="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733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topia Std" panose="02040603060506020204" pitchFamily="18" charset="0"/>
                  </a:rPr>
                  <a:t>Customer Solutions</a:t>
                </a:r>
              </a:p>
            </p:txBody>
          </p:sp>
          <p:sp>
            <p:nvSpPr>
              <p:cNvPr id="11" name="Freeform 17">
                <a:extLst>
                  <a:ext uri="{FF2B5EF4-FFF2-40B4-BE49-F238E27FC236}">
                    <a16:creationId xmlns:a16="http://schemas.microsoft.com/office/drawing/2014/main" id="{D82047A3-0DD9-4200-BFDC-49ED06F09E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1696" y="1425360"/>
                <a:ext cx="1757124" cy="1320572"/>
              </a:xfrm>
              <a:custGeom>
                <a:avLst/>
                <a:gdLst>
                  <a:gd name="T0" fmla="*/ 257 w 447"/>
                  <a:gd name="T1" fmla="*/ 43 h 336"/>
                  <a:gd name="T2" fmla="*/ 43 w 447"/>
                  <a:gd name="T3" fmla="*/ 99 h 336"/>
                  <a:gd name="T4" fmla="*/ 99 w 447"/>
                  <a:gd name="T5" fmla="*/ 313 h 336"/>
                  <a:gd name="T6" fmla="*/ 178 w 447"/>
                  <a:gd name="T7" fmla="*/ 334 h 336"/>
                  <a:gd name="T8" fmla="*/ 178 w 447"/>
                  <a:gd name="T9" fmla="*/ 334 h 336"/>
                  <a:gd name="T10" fmla="*/ 447 w 447"/>
                  <a:gd name="T11" fmla="*/ 336 h 336"/>
                  <a:gd name="T12" fmla="*/ 314 w 447"/>
                  <a:gd name="T13" fmla="*/ 102 h 336"/>
                  <a:gd name="T14" fmla="*/ 314 w 447"/>
                  <a:gd name="T15" fmla="*/ 102 h 336"/>
                  <a:gd name="T16" fmla="*/ 257 w 447"/>
                  <a:gd name="T17" fmla="*/ 43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7" h="336">
                    <a:moveTo>
                      <a:pt x="257" y="43"/>
                    </a:moveTo>
                    <a:cubicBezTo>
                      <a:pt x="182" y="0"/>
                      <a:pt x="87" y="25"/>
                      <a:pt x="43" y="99"/>
                    </a:cubicBezTo>
                    <a:cubicBezTo>
                      <a:pt x="0" y="173"/>
                      <a:pt x="25" y="269"/>
                      <a:pt x="99" y="313"/>
                    </a:cubicBezTo>
                    <a:cubicBezTo>
                      <a:pt x="124" y="327"/>
                      <a:pt x="151" y="334"/>
                      <a:pt x="178" y="334"/>
                    </a:cubicBezTo>
                    <a:cubicBezTo>
                      <a:pt x="178" y="334"/>
                      <a:pt x="178" y="334"/>
                      <a:pt x="178" y="334"/>
                    </a:cubicBezTo>
                    <a:cubicBezTo>
                      <a:pt x="447" y="336"/>
                      <a:pt x="447" y="336"/>
                      <a:pt x="447" y="336"/>
                    </a:cubicBezTo>
                    <a:cubicBezTo>
                      <a:pt x="314" y="102"/>
                      <a:pt x="314" y="102"/>
                      <a:pt x="314" y="102"/>
                    </a:cubicBezTo>
                    <a:cubicBezTo>
                      <a:pt x="314" y="102"/>
                      <a:pt x="314" y="102"/>
                      <a:pt x="314" y="102"/>
                    </a:cubicBezTo>
                    <a:cubicBezTo>
                      <a:pt x="301" y="78"/>
                      <a:pt x="281" y="58"/>
                      <a:pt x="257" y="43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</p:spPr>
            <p:txBody>
              <a:bodyPr vert="horz" wrap="square" lIns="82296" tIns="502920" rIns="39600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733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topia Std" panose="02040603060506020204" pitchFamily="18" charset="0"/>
                  </a:rPr>
                  <a:t>Customer Relationship</a:t>
                </a:r>
              </a:p>
            </p:txBody>
          </p:sp>
          <p:sp>
            <p:nvSpPr>
              <p:cNvPr id="12" name="Freeform 25">
                <a:extLst>
                  <a:ext uri="{FF2B5EF4-FFF2-40B4-BE49-F238E27FC236}">
                    <a16:creationId xmlns:a16="http://schemas.microsoft.com/office/drawing/2014/main" id="{F7AD9BDA-2A02-409B-A664-72620FEC2A1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0239" y="1425658"/>
                <a:ext cx="1757124" cy="1320572"/>
              </a:xfrm>
              <a:custGeom>
                <a:avLst/>
                <a:gdLst>
                  <a:gd name="T0" fmla="*/ 190 w 447"/>
                  <a:gd name="T1" fmla="*/ 43 h 336"/>
                  <a:gd name="T2" fmla="*/ 403 w 447"/>
                  <a:gd name="T3" fmla="*/ 99 h 336"/>
                  <a:gd name="T4" fmla="*/ 348 w 447"/>
                  <a:gd name="T5" fmla="*/ 313 h 336"/>
                  <a:gd name="T6" fmla="*/ 269 w 447"/>
                  <a:gd name="T7" fmla="*/ 334 h 336"/>
                  <a:gd name="T8" fmla="*/ 269 w 447"/>
                  <a:gd name="T9" fmla="*/ 334 h 336"/>
                  <a:gd name="T10" fmla="*/ 0 w 447"/>
                  <a:gd name="T11" fmla="*/ 336 h 336"/>
                  <a:gd name="T12" fmla="*/ 133 w 447"/>
                  <a:gd name="T13" fmla="*/ 102 h 336"/>
                  <a:gd name="T14" fmla="*/ 133 w 447"/>
                  <a:gd name="T15" fmla="*/ 102 h 336"/>
                  <a:gd name="T16" fmla="*/ 190 w 447"/>
                  <a:gd name="T17" fmla="*/ 43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7" h="336">
                    <a:moveTo>
                      <a:pt x="190" y="43"/>
                    </a:moveTo>
                    <a:cubicBezTo>
                      <a:pt x="264" y="0"/>
                      <a:pt x="360" y="25"/>
                      <a:pt x="403" y="99"/>
                    </a:cubicBezTo>
                    <a:cubicBezTo>
                      <a:pt x="447" y="173"/>
                      <a:pt x="422" y="269"/>
                      <a:pt x="348" y="313"/>
                    </a:cubicBezTo>
                    <a:cubicBezTo>
                      <a:pt x="323" y="327"/>
                      <a:pt x="296" y="334"/>
                      <a:pt x="269" y="334"/>
                    </a:cubicBezTo>
                    <a:cubicBezTo>
                      <a:pt x="269" y="334"/>
                      <a:pt x="269" y="334"/>
                      <a:pt x="269" y="334"/>
                    </a:cubicBezTo>
                    <a:cubicBezTo>
                      <a:pt x="0" y="336"/>
                      <a:pt x="0" y="336"/>
                      <a:pt x="0" y="336"/>
                    </a:cubicBezTo>
                    <a:cubicBezTo>
                      <a:pt x="133" y="102"/>
                      <a:pt x="133" y="102"/>
                      <a:pt x="133" y="102"/>
                    </a:cubicBezTo>
                    <a:cubicBezTo>
                      <a:pt x="133" y="102"/>
                      <a:pt x="133" y="102"/>
                      <a:pt x="133" y="102"/>
                    </a:cubicBezTo>
                    <a:cubicBezTo>
                      <a:pt x="146" y="78"/>
                      <a:pt x="165" y="58"/>
                      <a:pt x="190" y="4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329184" tIns="502920" rIns="13716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733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topia Std" panose="02040603060506020204" pitchFamily="18" charset="0"/>
                  </a:rPr>
                  <a:t>Brand</a:t>
                </a:r>
              </a:p>
            </p:txBody>
          </p:sp>
          <p:sp>
            <p:nvSpPr>
              <p:cNvPr id="13" name="Freeform 9">
                <a:extLst>
                  <a:ext uri="{FF2B5EF4-FFF2-40B4-BE49-F238E27FC236}">
                    <a16:creationId xmlns:a16="http://schemas.microsoft.com/office/drawing/2014/main" id="{91CCF19B-F94B-48AA-88B1-D6A911BF62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0350" y="2794795"/>
                <a:ext cx="1760538" cy="1319213"/>
              </a:xfrm>
              <a:custGeom>
                <a:avLst/>
                <a:gdLst>
                  <a:gd name="T0" fmla="*/ 3929 w 9244"/>
                  <a:gd name="T1" fmla="*/ 6042 h 6928"/>
                  <a:gd name="T2" fmla="*/ 8335 w 9244"/>
                  <a:gd name="T3" fmla="*/ 4888 h 6928"/>
                  <a:gd name="T4" fmla="*/ 7197 w 9244"/>
                  <a:gd name="T5" fmla="*/ 475 h 6928"/>
                  <a:gd name="T6" fmla="*/ 5563 w 9244"/>
                  <a:gd name="T7" fmla="*/ 42 h 6928"/>
                  <a:gd name="T8" fmla="*/ 5563 w 9244"/>
                  <a:gd name="T9" fmla="*/ 42 h 6928"/>
                  <a:gd name="T10" fmla="*/ 0 w 9244"/>
                  <a:gd name="T11" fmla="*/ 0 h 6928"/>
                  <a:gd name="T12" fmla="*/ 2750 w 9244"/>
                  <a:gd name="T13" fmla="*/ 4826 h 6928"/>
                  <a:gd name="T14" fmla="*/ 2750 w 9244"/>
                  <a:gd name="T15" fmla="*/ 4826 h 6928"/>
                  <a:gd name="T16" fmla="*/ 3929 w 9244"/>
                  <a:gd name="T17" fmla="*/ 6042 h 69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44" h="6928">
                    <a:moveTo>
                      <a:pt x="3929" y="6042"/>
                    </a:moveTo>
                    <a:cubicBezTo>
                      <a:pt x="5459" y="6928"/>
                      <a:pt x="7445" y="6414"/>
                      <a:pt x="8335" y="4888"/>
                    </a:cubicBezTo>
                    <a:cubicBezTo>
                      <a:pt x="9244" y="3362"/>
                      <a:pt x="8727" y="1383"/>
                      <a:pt x="7197" y="475"/>
                    </a:cubicBezTo>
                    <a:cubicBezTo>
                      <a:pt x="6680" y="186"/>
                      <a:pt x="6122" y="42"/>
                      <a:pt x="5563" y="42"/>
                    </a:cubicBezTo>
                    <a:cubicBezTo>
                      <a:pt x="5563" y="42"/>
                      <a:pt x="5563" y="42"/>
                      <a:pt x="5563" y="4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750" y="4826"/>
                      <a:pt x="2750" y="4826"/>
                      <a:pt x="2750" y="4826"/>
                    </a:cubicBezTo>
                    <a:cubicBezTo>
                      <a:pt x="2750" y="4826"/>
                      <a:pt x="2750" y="4826"/>
                      <a:pt x="2750" y="4826"/>
                    </a:cubicBezTo>
                    <a:cubicBezTo>
                      <a:pt x="3019" y="5320"/>
                      <a:pt x="3412" y="5733"/>
                      <a:pt x="3929" y="6042"/>
                    </a:cubicBezTo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0" tIns="365760" rIns="10800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 algn="ctr" defTabSz="914377">
                  <a:defRPr/>
                </a:pPr>
                <a:r>
                  <a:rPr lang="en-CA" sz="1733" b="1" kern="0" dirty="0">
                    <a:solidFill>
                      <a:srgbClr val="FFFFFF"/>
                    </a:solidFill>
                    <a:latin typeface="Utopia Std" panose="02040603060506020204" pitchFamily="18" charset="0"/>
                  </a:rPr>
                  <a:t>Customer</a:t>
                </a:r>
                <a:br>
                  <a:rPr lang="en-CA" sz="1733" b="1" kern="0" dirty="0">
                    <a:solidFill>
                      <a:srgbClr val="FFFFFF"/>
                    </a:solidFill>
                    <a:latin typeface="Utopia Std" panose="02040603060506020204" pitchFamily="18" charset="0"/>
                  </a:rPr>
                </a:br>
                <a:r>
                  <a:rPr lang="en-CA" sz="1733" b="1" kern="0" dirty="0">
                    <a:solidFill>
                      <a:srgbClr val="FFFFFF"/>
                    </a:solidFill>
                    <a:latin typeface="Utopia Std" panose="02040603060506020204" pitchFamily="18" charset="0"/>
                  </a:rPr>
                  <a:t>Understanding</a:t>
                </a:r>
              </a:p>
            </p:txBody>
          </p:sp>
          <p:sp>
            <p:nvSpPr>
              <p:cNvPr id="14" name="Freeform 5">
                <a:extLst>
                  <a:ext uri="{FF2B5EF4-FFF2-40B4-BE49-F238E27FC236}">
                    <a16:creationId xmlns:a16="http://schemas.microsoft.com/office/drawing/2014/main" id="{28D7D131-6A58-488F-9472-8C322DDA02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1883" y="885470"/>
                <a:ext cx="1233262" cy="1838980"/>
              </a:xfrm>
              <a:custGeom>
                <a:avLst/>
                <a:gdLst>
                  <a:gd name="T0" fmla="*/ 312 w 312"/>
                  <a:gd name="T1" fmla="*/ 156 h 468"/>
                  <a:gd name="T2" fmla="*/ 156 w 312"/>
                  <a:gd name="T3" fmla="*/ 0 h 468"/>
                  <a:gd name="T4" fmla="*/ 0 w 312"/>
                  <a:gd name="T5" fmla="*/ 156 h 468"/>
                  <a:gd name="T6" fmla="*/ 21 w 312"/>
                  <a:gd name="T7" fmla="*/ 235 h 468"/>
                  <a:gd name="T8" fmla="*/ 21 w 312"/>
                  <a:gd name="T9" fmla="*/ 235 h 468"/>
                  <a:gd name="T10" fmla="*/ 156 w 312"/>
                  <a:gd name="T11" fmla="*/ 468 h 468"/>
                  <a:gd name="T12" fmla="*/ 291 w 312"/>
                  <a:gd name="T13" fmla="*/ 235 h 468"/>
                  <a:gd name="T14" fmla="*/ 291 w 312"/>
                  <a:gd name="T15" fmla="*/ 235 h 468"/>
                  <a:gd name="T16" fmla="*/ 312 w 312"/>
                  <a:gd name="T17" fmla="*/ 156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2" h="468">
                    <a:moveTo>
                      <a:pt x="312" y="156"/>
                    </a:moveTo>
                    <a:cubicBezTo>
                      <a:pt x="312" y="70"/>
                      <a:pt x="242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5"/>
                      <a:pt x="8" y="212"/>
                      <a:pt x="21" y="235"/>
                    </a:cubicBezTo>
                    <a:cubicBezTo>
                      <a:pt x="21" y="235"/>
                      <a:pt x="21" y="235"/>
                      <a:pt x="21" y="235"/>
                    </a:cubicBezTo>
                    <a:cubicBezTo>
                      <a:pt x="156" y="468"/>
                      <a:pt x="156" y="468"/>
                      <a:pt x="156" y="468"/>
                    </a:cubicBezTo>
                    <a:cubicBezTo>
                      <a:pt x="291" y="235"/>
                      <a:pt x="291" y="235"/>
                      <a:pt x="291" y="235"/>
                    </a:cubicBezTo>
                    <a:cubicBezTo>
                      <a:pt x="291" y="235"/>
                      <a:pt x="291" y="235"/>
                      <a:pt x="291" y="235"/>
                    </a:cubicBezTo>
                    <a:cubicBezTo>
                      <a:pt x="304" y="212"/>
                      <a:pt x="312" y="185"/>
                      <a:pt x="312" y="156"/>
                    </a:cubicBezTo>
                    <a:close/>
                  </a:path>
                </a:pathLst>
              </a:custGeom>
              <a:solidFill>
                <a:schemeClr val="accent3"/>
              </a:solidFill>
              <a:ln>
                <a:noFill/>
              </a:ln>
            </p:spPr>
            <p:txBody>
              <a:bodyPr vert="horz" wrap="square" lIns="91440" tIns="45720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733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topia Std" panose="02040603060506020204" pitchFamily="18" charset="0"/>
                  </a:rPr>
                  <a:t>Business</a:t>
                </a:r>
                <a:br>
                  <a:rPr kumimoji="0" lang="en-CA" sz="1733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topia Std" panose="02040603060506020204" pitchFamily="18" charset="0"/>
                  </a:rPr>
                </a:br>
                <a:r>
                  <a:rPr kumimoji="0" lang="en-CA" sz="1733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Utopia Std" panose="02040603060506020204" pitchFamily="18" charset="0"/>
                  </a:rPr>
                  <a:t>Impact</a:t>
                </a:r>
              </a:p>
            </p:txBody>
          </p:sp>
          <p:sp>
            <p:nvSpPr>
              <p:cNvPr id="15" name="Freeform 5">
                <a:extLst>
                  <a:ext uri="{FF2B5EF4-FFF2-40B4-BE49-F238E27FC236}">
                    <a16:creationId xmlns:a16="http://schemas.microsoft.com/office/drawing/2014/main" id="{2331A87A-19C0-488A-B73A-17EA8AB235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8367" y="2794795"/>
                <a:ext cx="1760537" cy="1319213"/>
              </a:xfrm>
              <a:custGeom>
                <a:avLst/>
                <a:gdLst>
                  <a:gd name="T0" fmla="*/ 5304 w 9224"/>
                  <a:gd name="T1" fmla="*/ 6045 h 6932"/>
                  <a:gd name="T2" fmla="*/ 908 w 9224"/>
                  <a:gd name="T3" fmla="*/ 4890 h 6932"/>
                  <a:gd name="T4" fmla="*/ 2043 w 9224"/>
                  <a:gd name="T5" fmla="*/ 475 h 6932"/>
                  <a:gd name="T6" fmla="*/ 3674 w 9224"/>
                  <a:gd name="T7" fmla="*/ 42 h 6932"/>
                  <a:gd name="T8" fmla="*/ 3674 w 9224"/>
                  <a:gd name="T9" fmla="*/ 42 h 6932"/>
                  <a:gd name="T10" fmla="*/ 9224 w 9224"/>
                  <a:gd name="T11" fmla="*/ 0 h 6932"/>
                  <a:gd name="T12" fmla="*/ 6480 w 9224"/>
                  <a:gd name="T13" fmla="*/ 4828 h 6932"/>
                  <a:gd name="T14" fmla="*/ 6480 w 9224"/>
                  <a:gd name="T15" fmla="*/ 4828 h 6932"/>
                  <a:gd name="T16" fmla="*/ 5304 w 9224"/>
                  <a:gd name="T17" fmla="*/ 6045 h 69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24" h="6932">
                    <a:moveTo>
                      <a:pt x="5304" y="6045"/>
                    </a:moveTo>
                    <a:cubicBezTo>
                      <a:pt x="3777" y="6932"/>
                      <a:pt x="1796" y="6417"/>
                      <a:pt x="908" y="4890"/>
                    </a:cubicBezTo>
                    <a:cubicBezTo>
                      <a:pt x="0" y="3363"/>
                      <a:pt x="516" y="1383"/>
                      <a:pt x="2043" y="475"/>
                    </a:cubicBezTo>
                    <a:cubicBezTo>
                      <a:pt x="2559" y="186"/>
                      <a:pt x="3116" y="42"/>
                      <a:pt x="3674" y="42"/>
                    </a:cubicBezTo>
                    <a:cubicBezTo>
                      <a:pt x="3674" y="42"/>
                      <a:pt x="3674" y="42"/>
                      <a:pt x="3674" y="42"/>
                    </a:cubicBezTo>
                    <a:cubicBezTo>
                      <a:pt x="9224" y="0"/>
                      <a:pt x="9224" y="0"/>
                      <a:pt x="9224" y="0"/>
                    </a:cubicBezTo>
                    <a:cubicBezTo>
                      <a:pt x="6480" y="4828"/>
                      <a:pt x="6480" y="4828"/>
                      <a:pt x="6480" y="4828"/>
                    </a:cubicBezTo>
                    <a:cubicBezTo>
                      <a:pt x="6480" y="4828"/>
                      <a:pt x="6480" y="4828"/>
                      <a:pt x="6480" y="4828"/>
                    </a:cubicBezTo>
                    <a:cubicBezTo>
                      <a:pt x="6212" y="5323"/>
                      <a:pt x="5820" y="5736"/>
                      <a:pt x="5304" y="6045"/>
                    </a:cubicBezTo>
                  </a:path>
                </a:pathLst>
              </a:custGeom>
              <a:solidFill>
                <a:schemeClr val="accent1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0" tIns="365760" rIns="41148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4377"/>
                <a:r>
                  <a:rPr lang="en-CA" sz="1733" b="1" kern="0" dirty="0">
                    <a:solidFill>
                      <a:srgbClr val="FFFFFF"/>
                    </a:solidFill>
                    <a:latin typeface="Utopia Std" panose="02040603060506020204" pitchFamily="18" charset="0"/>
                  </a:rPr>
                  <a:t>Demand</a:t>
                </a:r>
                <a:br>
                  <a:rPr lang="en-CA" sz="1733" b="1" kern="0" dirty="0">
                    <a:solidFill>
                      <a:srgbClr val="FFFFFF"/>
                    </a:solidFill>
                    <a:latin typeface="Utopia Std" panose="02040603060506020204" pitchFamily="18" charset="0"/>
                  </a:rPr>
                </a:br>
                <a:r>
                  <a:rPr lang="en-CA" sz="1733" b="1" kern="0" dirty="0">
                    <a:solidFill>
                      <a:srgbClr val="FFFFFF"/>
                    </a:solidFill>
                    <a:latin typeface="Utopia Std" panose="02040603060506020204" pitchFamily="18" charset="0"/>
                  </a:rPr>
                  <a:t>Management</a:t>
                </a:r>
              </a:p>
            </p:txBody>
          </p:sp>
        </p:grpSp>
        <p:sp>
          <p:nvSpPr>
            <p:cNvPr id="26" name="Arc 25">
              <a:extLst>
                <a:ext uri="{FF2B5EF4-FFF2-40B4-BE49-F238E27FC236}">
                  <a16:creationId xmlns:a16="http://schemas.microsoft.com/office/drawing/2014/main" id="{A324A383-AA1F-4719-940B-FC9D5DD6B330}"/>
                </a:ext>
              </a:extLst>
            </p:cNvPr>
            <p:cNvSpPr/>
            <p:nvPr/>
          </p:nvSpPr>
          <p:spPr>
            <a:xfrm>
              <a:off x="3967673" y="136354"/>
              <a:ext cx="4954956" cy="4954956"/>
            </a:xfrm>
            <a:prstGeom prst="arc">
              <a:avLst>
                <a:gd name="adj1" fmla="val 16338616"/>
                <a:gd name="adj2" fmla="val 16199262"/>
              </a:avLst>
            </a:prstGeom>
            <a:ln w="41275">
              <a:solidFill>
                <a:schemeClr val="tx1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33" dirty="0"/>
            </a:p>
          </p:txBody>
        </p:sp>
      </p:grpSp>
    </p:spTree>
    <p:extLst>
      <p:ext uri="{BB962C8B-B14F-4D97-AF65-F5344CB8AC3E}">
        <p14:creationId xmlns:p14="http://schemas.microsoft.com/office/powerpoint/2010/main" val="18782396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33" b="0" i="0" u="none" strike="noStrike" kern="1200" cap="none" spc="0" normalizeH="0" baseline="0" noProof="0" dirty="0">
                <a:ln>
                  <a:noFill/>
                </a:ln>
                <a:solidFill>
                  <a:srgbClr val="75787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1133" b="0" i="0" u="none" strike="noStrike" kern="1200" cap="none" spc="0" normalizeH="0" baseline="0" noProof="0" dirty="0">
                <a:ln>
                  <a:noFill/>
                </a:ln>
                <a:solidFill>
                  <a:srgbClr val="75787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1133" b="0" i="0" u="none" strike="noStrike" kern="1200" cap="none" spc="0" normalizeH="0" baseline="0" noProof="0" dirty="0">
                <a:ln>
                  <a:noFill/>
                </a:ln>
                <a:solidFill>
                  <a:srgbClr val="75787B">
                    <a:lumMod val="60000"/>
                    <a:lumOff val="4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647222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Blank with Cop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AA8099F9-10D7-46C3-A2BF-14C39B1C35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81095" y="1029299"/>
            <a:ext cx="7054851" cy="2959100"/>
          </a:xfrm>
        </p:spPr>
        <p:txBody>
          <a:bodyPr anchor="ctr" anchorCtr="0"/>
          <a:lstStyle>
            <a:lvl1pPr>
              <a:defRPr sz="4267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979B03-DD5B-4B2C-9A64-5EC259EE61EB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373207118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siness Impact Divi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  <p:sp>
        <p:nvSpPr>
          <p:cNvPr id="6" name="Text Placeholder 24">
            <a:extLst>
              <a:ext uri="{FF2B5EF4-FFF2-40B4-BE49-F238E27FC236}">
                <a16:creationId xmlns:a16="http://schemas.microsoft.com/office/drawing/2014/main" id="{99E77DAF-EC75-4B6F-95BF-E27D7397F8E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55601" y="2331008"/>
            <a:ext cx="4216400" cy="2195984"/>
          </a:xfrm>
        </p:spPr>
        <p:txBody>
          <a:bodyPr/>
          <a:lstStyle>
            <a:lvl1pPr>
              <a:defRPr b="0">
                <a:solidFill>
                  <a:schemeClr val="bg1"/>
                </a:solidFill>
                <a:latin typeface="+mj-lt"/>
              </a:defRPr>
            </a:lvl1pPr>
            <a:lvl2pPr marL="6351" indent="0">
              <a:buNone/>
              <a:defRPr/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9E95C43-2210-45EC-AB92-851308D8058B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130EB794-25F8-4333-A23F-11763A1D5D1B}"/>
              </a:ext>
            </a:extLst>
          </p:cNvPr>
          <p:cNvGrpSpPr/>
          <p:nvPr/>
        </p:nvGrpSpPr>
        <p:grpSpPr>
          <a:xfrm>
            <a:off x="5915971" y="508467"/>
            <a:ext cx="5800837" cy="5800837"/>
            <a:chOff x="3967673" y="136354"/>
            <a:chExt cx="4954956" cy="4954956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66782CD-C41C-49F1-B6A1-3882D425CE9F}"/>
                </a:ext>
              </a:extLst>
            </p:cNvPr>
            <p:cNvGrpSpPr/>
            <p:nvPr/>
          </p:nvGrpSpPr>
          <p:grpSpPr>
            <a:xfrm>
              <a:off x="4325497" y="494178"/>
              <a:ext cx="4239309" cy="4239309"/>
              <a:chOff x="1738367" y="885470"/>
              <a:chExt cx="3642521" cy="3769665"/>
            </a:xfrm>
          </p:grpSpPr>
          <p:sp>
            <p:nvSpPr>
              <p:cNvPr id="33" name="Freeform 9">
                <a:extLst>
                  <a:ext uri="{FF2B5EF4-FFF2-40B4-BE49-F238E27FC236}">
                    <a16:creationId xmlns:a16="http://schemas.microsoft.com/office/drawing/2014/main" id="{5BFE6A72-5193-4F46-A77C-9A483C4E50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9673" y="2816159"/>
                <a:ext cx="1227807" cy="1838976"/>
              </a:xfrm>
              <a:custGeom>
                <a:avLst/>
                <a:gdLst>
                  <a:gd name="T0" fmla="*/ 0 w 312"/>
                  <a:gd name="T1" fmla="*/ 312 h 468"/>
                  <a:gd name="T2" fmla="*/ 156 w 312"/>
                  <a:gd name="T3" fmla="*/ 468 h 468"/>
                  <a:gd name="T4" fmla="*/ 312 w 312"/>
                  <a:gd name="T5" fmla="*/ 311 h 468"/>
                  <a:gd name="T6" fmla="*/ 290 w 312"/>
                  <a:gd name="T7" fmla="*/ 232 h 468"/>
                  <a:gd name="T8" fmla="*/ 290 w 312"/>
                  <a:gd name="T9" fmla="*/ 232 h 468"/>
                  <a:gd name="T10" fmla="*/ 155 w 312"/>
                  <a:gd name="T11" fmla="*/ 0 h 468"/>
                  <a:gd name="T12" fmla="*/ 21 w 312"/>
                  <a:gd name="T13" fmla="*/ 233 h 468"/>
                  <a:gd name="T14" fmla="*/ 21 w 312"/>
                  <a:gd name="T15" fmla="*/ 233 h 468"/>
                  <a:gd name="T16" fmla="*/ 0 w 312"/>
                  <a:gd name="T17" fmla="*/ 312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2" h="468">
                    <a:moveTo>
                      <a:pt x="0" y="312"/>
                    </a:moveTo>
                    <a:cubicBezTo>
                      <a:pt x="0" y="398"/>
                      <a:pt x="70" y="468"/>
                      <a:pt x="156" y="468"/>
                    </a:cubicBezTo>
                    <a:cubicBezTo>
                      <a:pt x="242" y="467"/>
                      <a:pt x="312" y="398"/>
                      <a:pt x="312" y="311"/>
                    </a:cubicBezTo>
                    <a:cubicBezTo>
                      <a:pt x="312" y="283"/>
                      <a:pt x="304" y="256"/>
                      <a:pt x="290" y="232"/>
                    </a:cubicBezTo>
                    <a:cubicBezTo>
                      <a:pt x="290" y="232"/>
                      <a:pt x="290" y="232"/>
                      <a:pt x="290" y="232"/>
                    </a:cubicBezTo>
                    <a:cubicBezTo>
                      <a:pt x="155" y="0"/>
                      <a:pt x="155" y="0"/>
                      <a:pt x="155" y="0"/>
                    </a:cubicBezTo>
                    <a:cubicBezTo>
                      <a:pt x="21" y="233"/>
                      <a:pt x="21" y="233"/>
                      <a:pt x="21" y="233"/>
                    </a:cubicBezTo>
                    <a:cubicBezTo>
                      <a:pt x="21" y="233"/>
                      <a:pt x="21" y="233"/>
                      <a:pt x="21" y="233"/>
                    </a:cubicBezTo>
                    <a:cubicBezTo>
                      <a:pt x="7" y="256"/>
                      <a:pt x="0" y="283"/>
                      <a:pt x="0" y="312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1005840" rIns="91440" bIns="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733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3">
                        <a:lumMod val="75000"/>
                      </a:schemeClr>
                    </a:solidFill>
                    <a:effectLst/>
                    <a:uLnTx/>
                    <a:uFillTx/>
                    <a:latin typeface="Utopia Std" panose="02040603060506020204" pitchFamily="18" charset="0"/>
                  </a:rPr>
                  <a:t>Customer Solutions</a:t>
                </a:r>
              </a:p>
            </p:txBody>
          </p:sp>
          <p:sp>
            <p:nvSpPr>
              <p:cNvPr id="34" name="Freeform 17">
                <a:extLst>
                  <a:ext uri="{FF2B5EF4-FFF2-40B4-BE49-F238E27FC236}">
                    <a16:creationId xmlns:a16="http://schemas.microsoft.com/office/drawing/2014/main" id="{3346F73F-45BC-4A5F-B38F-920F072C69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1696" y="1425360"/>
                <a:ext cx="1757124" cy="1320572"/>
              </a:xfrm>
              <a:custGeom>
                <a:avLst/>
                <a:gdLst>
                  <a:gd name="T0" fmla="*/ 257 w 447"/>
                  <a:gd name="T1" fmla="*/ 43 h 336"/>
                  <a:gd name="T2" fmla="*/ 43 w 447"/>
                  <a:gd name="T3" fmla="*/ 99 h 336"/>
                  <a:gd name="T4" fmla="*/ 99 w 447"/>
                  <a:gd name="T5" fmla="*/ 313 h 336"/>
                  <a:gd name="T6" fmla="*/ 178 w 447"/>
                  <a:gd name="T7" fmla="*/ 334 h 336"/>
                  <a:gd name="T8" fmla="*/ 178 w 447"/>
                  <a:gd name="T9" fmla="*/ 334 h 336"/>
                  <a:gd name="T10" fmla="*/ 447 w 447"/>
                  <a:gd name="T11" fmla="*/ 336 h 336"/>
                  <a:gd name="T12" fmla="*/ 314 w 447"/>
                  <a:gd name="T13" fmla="*/ 102 h 336"/>
                  <a:gd name="T14" fmla="*/ 314 w 447"/>
                  <a:gd name="T15" fmla="*/ 102 h 336"/>
                  <a:gd name="T16" fmla="*/ 257 w 447"/>
                  <a:gd name="T17" fmla="*/ 43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7" h="336">
                    <a:moveTo>
                      <a:pt x="257" y="43"/>
                    </a:moveTo>
                    <a:cubicBezTo>
                      <a:pt x="182" y="0"/>
                      <a:pt x="87" y="25"/>
                      <a:pt x="43" y="99"/>
                    </a:cubicBezTo>
                    <a:cubicBezTo>
                      <a:pt x="0" y="173"/>
                      <a:pt x="25" y="269"/>
                      <a:pt x="99" y="313"/>
                    </a:cubicBezTo>
                    <a:cubicBezTo>
                      <a:pt x="124" y="327"/>
                      <a:pt x="151" y="334"/>
                      <a:pt x="178" y="334"/>
                    </a:cubicBezTo>
                    <a:cubicBezTo>
                      <a:pt x="178" y="334"/>
                      <a:pt x="178" y="334"/>
                      <a:pt x="178" y="334"/>
                    </a:cubicBezTo>
                    <a:cubicBezTo>
                      <a:pt x="447" y="336"/>
                      <a:pt x="447" y="336"/>
                      <a:pt x="447" y="336"/>
                    </a:cubicBezTo>
                    <a:cubicBezTo>
                      <a:pt x="314" y="102"/>
                      <a:pt x="314" y="102"/>
                      <a:pt x="314" y="102"/>
                    </a:cubicBezTo>
                    <a:cubicBezTo>
                      <a:pt x="314" y="102"/>
                      <a:pt x="314" y="102"/>
                      <a:pt x="314" y="102"/>
                    </a:cubicBezTo>
                    <a:cubicBezTo>
                      <a:pt x="301" y="78"/>
                      <a:pt x="281" y="58"/>
                      <a:pt x="257" y="43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txBody>
              <a:bodyPr vert="horz" wrap="square" lIns="82296" tIns="502920" rIns="39600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733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3">
                        <a:lumMod val="75000"/>
                      </a:schemeClr>
                    </a:solidFill>
                    <a:effectLst/>
                    <a:uLnTx/>
                    <a:uFillTx/>
                    <a:latin typeface="Utopia Std" panose="02040603060506020204" pitchFamily="18" charset="0"/>
                  </a:rPr>
                  <a:t>Customer Relationship</a:t>
                </a:r>
              </a:p>
            </p:txBody>
          </p:sp>
          <p:sp>
            <p:nvSpPr>
              <p:cNvPr id="35" name="Freeform 25">
                <a:extLst>
                  <a:ext uri="{FF2B5EF4-FFF2-40B4-BE49-F238E27FC236}">
                    <a16:creationId xmlns:a16="http://schemas.microsoft.com/office/drawing/2014/main" id="{E16CF266-1D7B-4D78-8203-D75EE035937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0239" y="1425658"/>
                <a:ext cx="1757124" cy="1320572"/>
              </a:xfrm>
              <a:custGeom>
                <a:avLst/>
                <a:gdLst>
                  <a:gd name="T0" fmla="*/ 190 w 447"/>
                  <a:gd name="T1" fmla="*/ 43 h 336"/>
                  <a:gd name="T2" fmla="*/ 403 w 447"/>
                  <a:gd name="T3" fmla="*/ 99 h 336"/>
                  <a:gd name="T4" fmla="*/ 348 w 447"/>
                  <a:gd name="T5" fmla="*/ 313 h 336"/>
                  <a:gd name="T6" fmla="*/ 269 w 447"/>
                  <a:gd name="T7" fmla="*/ 334 h 336"/>
                  <a:gd name="T8" fmla="*/ 269 w 447"/>
                  <a:gd name="T9" fmla="*/ 334 h 336"/>
                  <a:gd name="T10" fmla="*/ 0 w 447"/>
                  <a:gd name="T11" fmla="*/ 336 h 336"/>
                  <a:gd name="T12" fmla="*/ 133 w 447"/>
                  <a:gd name="T13" fmla="*/ 102 h 336"/>
                  <a:gd name="T14" fmla="*/ 133 w 447"/>
                  <a:gd name="T15" fmla="*/ 102 h 336"/>
                  <a:gd name="T16" fmla="*/ 190 w 447"/>
                  <a:gd name="T17" fmla="*/ 43 h 3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47" h="336">
                    <a:moveTo>
                      <a:pt x="190" y="43"/>
                    </a:moveTo>
                    <a:cubicBezTo>
                      <a:pt x="264" y="0"/>
                      <a:pt x="360" y="25"/>
                      <a:pt x="403" y="99"/>
                    </a:cubicBezTo>
                    <a:cubicBezTo>
                      <a:pt x="447" y="173"/>
                      <a:pt x="422" y="269"/>
                      <a:pt x="348" y="313"/>
                    </a:cubicBezTo>
                    <a:cubicBezTo>
                      <a:pt x="323" y="327"/>
                      <a:pt x="296" y="334"/>
                      <a:pt x="269" y="334"/>
                    </a:cubicBezTo>
                    <a:cubicBezTo>
                      <a:pt x="269" y="334"/>
                      <a:pt x="269" y="334"/>
                      <a:pt x="269" y="334"/>
                    </a:cubicBezTo>
                    <a:cubicBezTo>
                      <a:pt x="0" y="336"/>
                      <a:pt x="0" y="336"/>
                      <a:pt x="0" y="336"/>
                    </a:cubicBezTo>
                    <a:cubicBezTo>
                      <a:pt x="133" y="102"/>
                      <a:pt x="133" y="102"/>
                      <a:pt x="133" y="102"/>
                    </a:cubicBezTo>
                    <a:cubicBezTo>
                      <a:pt x="133" y="102"/>
                      <a:pt x="133" y="102"/>
                      <a:pt x="133" y="102"/>
                    </a:cubicBezTo>
                    <a:cubicBezTo>
                      <a:pt x="146" y="78"/>
                      <a:pt x="165" y="58"/>
                      <a:pt x="190" y="43"/>
                    </a:cubicBezTo>
                    <a:close/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txBody>
              <a:bodyPr vert="horz" wrap="square" lIns="329184" tIns="502920" rIns="13716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733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3">
                        <a:lumMod val="75000"/>
                      </a:schemeClr>
                    </a:solidFill>
                    <a:effectLst/>
                    <a:uLnTx/>
                    <a:uFillTx/>
                    <a:latin typeface="Utopia Std" panose="02040603060506020204" pitchFamily="18" charset="0"/>
                  </a:rPr>
                  <a:t>Brand</a:t>
                </a:r>
              </a:p>
            </p:txBody>
          </p:sp>
          <p:sp>
            <p:nvSpPr>
              <p:cNvPr id="36" name="Freeform 9">
                <a:extLst>
                  <a:ext uri="{FF2B5EF4-FFF2-40B4-BE49-F238E27FC236}">
                    <a16:creationId xmlns:a16="http://schemas.microsoft.com/office/drawing/2014/main" id="{FFC5A67B-E061-407B-A7D8-519483E14F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20350" y="2794795"/>
                <a:ext cx="1760538" cy="1319213"/>
              </a:xfrm>
              <a:custGeom>
                <a:avLst/>
                <a:gdLst>
                  <a:gd name="T0" fmla="*/ 3929 w 9244"/>
                  <a:gd name="T1" fmla="*/ 6042 h 6928"/>
                  <a:gd name="T2" fmla="*/ 8335 w 9244"/>
                  <a:gd name="T3" fmla="*/ 4888 h 6928"/>
                  <a:gd name="T4" fmla="*/ 7197 w 9244"/>
                  <a:gd name="T5" fmla="*/ 475 h 6928"/>
                  <a:gd name="T6" fmla="*/ 5563 w 9244"/>
                  <a:gd name="T7" fmla="*/ 42 h 6928"/>
                  <a:gd name="T8" fmla="*/ 5563 w 9244"/>
                  <a:gd name="T9" fmla="*/ 42 h 6928"/>
                  <a:gd name="T10" fmla="*/ 0 w 9244"/>
                  <a:gd name="T11" fmla="*/ 0 h 6928"/>
                  <a:gd name="T12" fmla="*/ 2750 w 9244"/>
                  <a:gd name="T13" fmla="*/ 4826 h 6928"/>
                  <a:gd name="T14" fmla="*/ 2750 w 9244"/>
                  <a:gd name="T15" fmla="*/ 4826 h 6928"/>
                  <a:gd name="T16" fmla="*/ 3929 w 9244"/>
                  <a:gd name="T17" fmla="*/ 6042 h 69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44" h="6928">
                    <a:moveTo>
                      <a:pt x="3929" y="6042"/>
                    </a:moveTo>
                    <a:cubicBezTo>
                      <a:pt x="5459" y="6928"/>
                      <a:pt x="7445" y="6414"/>
                      <a:pt x="8335" y="4888"/>
                    </a:cubicBezTo>
                    <a:cubicBezTo>
                      <a:pt x="9244" y="3362"/>
                      <a:pt x="8727" y="1383"/>
                      <a:pt x="7197" y="475"/>
                    </a:cubicBezTo>
                    <a:cubicBezTo>
                      <a:pt x="6680" y="186"/>
                      <a:pt x="6122" y="42"/>
                      <a:pt x="5563" y="42"/>
                    </a:cubicBezTo>
                    <a:cubicBezTo>
                      <a:pt x="5563" y="42"/>
                      <a:pt x="5563" y="42"/>
                      <a:pt x="5563" y="42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750" y="4826"/>
                      <a:pt x="2750" y="4826"/>
                      <a:pt x="2750" y="4826"/>
                    </a:cubicBezTo>
                    <a:cubicBezTo>
                      <a:pt x="2750" y="4826"/>
                      <a:pt x="2750" y="4826"/>
                      <a:pt x="2750" y="4826"/>
                    </a:cubicBezTo>
                    <a:cubicBezTo>
                      <a:pt x="3019" y="5320"/>
                      <a:pt x="3412" y="5733"/>
                      <a:pt x="3929" y="6042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457200" tIns="365760" rIns="10800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 algn="ctr" defTabSz="914377">
                  <a:defRPr/>
                </a:pPr>
                <a:r>
                  <a:rPr lang="en-CA" sz="1733" b="1" kern="0" dirty="0">
                    <a:solidFill>
                      <a:schemeClr val="accent3">
                        <a:lumMod val="75000"/>
                      </a:schemeClr>
                    </a:solidFill>
                    <a:latin typeface="Utopia Std" panose="02040603060506020204" pitchFamily="18" charset="0"/>
                  </a:rPr>
                  <a:t>Customer</a:t>
                </a:r>
                <a:br>
                  <a:rPr lang="en-CA" sz="1733" b="1" kern="0" dirty="0">
                    <a:solidFill>
                      <a:schemeClr val="accent3">
                        <a:lumMod val="75000"/>
                      </a:schemeClr>
                    </a:solidFill>
                    <a:latin typeface="Utopia Std" panose="02040603060506020204" pitchFamily="18" charset="0"/>
                  </a:rPr>
                </a:br>
                <a:r>
                  <a:rPr lang="en-CA" sz="1733" b="1" kern="0" dirty="0">
                    <a:solidFill>
                      <a:schemeClr val="accent3">
                        <a:lumMod val="75000"/>
                      </a:schemeClr>
                    </a:solidFill>
                    <a:latin typeface="Utopia Std" panose="02040603060506020204" pitchFamily="18" charset="0"/>
                  </a:rPr>
                  <a:t>Understanding</a:t>
                </a:r>
              </a:p>
            </p:txBody>
          </p:sp>
          <p:sp>
            <p:nvSpPr>
              <p:cNvPr id="37" name="Freeform 5">
                <a:extLst>
                  <a:ext uri="{FF2B5EF4-FFF2-40B4-BE49-F238E27FC236}">
                    <a16:creationId xmlns:a16="http://schemas.microsoft.com/office/drawing/2014/main" id="{40FA7E65-1D9A-4BB8-B60E-2491ED7D5C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41883" y="885470"/>
                <a:ext cx="1233262" cy="1838980"/>
              </a:xfrm>
              <a:custGeom>
                <a:avLst/>
                <a:gdLst>
                  <a:gd name="T0" fmla="*/ 312 w 312"/>
                  <a:gd name="T1" fmla="*/ 156 h 468"/>
                  <a:gd name="T2" fmla="*/ 156 w 312"/>
                  <a:gd name="T3" fmla="*/ 0 h 468"/>
                  <a:gd name="T4" fmla="*/ 0 w 312"/>
                  <a:gd name="T5" fmla="*/ 156 h 468"/>
                  <a:gd name="T6" fmla="*/ 21 w 312"/>
                  <a:gd name="T7" fmla="*/ 235 h 468"/>
                  <a:gd name="T8" fmla="*/ 21 w 312"/>
                  <a:gd name="T9" fmla="*/ 235 h 468"/>
                  <a:gd name="T10" fmla="*/ 156 w 312"/>
                  <a:gd name="T11" fmla="*/ 468 h 468"/>
                  <a:gd name="T12" fmla="*/ 291 w 312"/>
                  <a:gd name="T13" fmla="*/ 235 h 468"/>
                  <a:gd name="T14" fmla="*/ 291 w 312"/>
                  <a:gd name="T15" fmla="*/ 235 h 468"/>
                  <a:gd name="T16" fmla="*/ 312 w 312"/>
                  <a:gd name="T17" fmla="*/ 156 h 4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12" h="468">
                    <a:moveTo>
                      <a:pt x="312" y="156"/>
                    </a:moveTo>
                    <a:cubicBezTo>
                      <a:pt x="312" y="70"/>
                      <a:pt x="242" y="0"/>
                      <a:pt x="156" y="0"/>
                    </a:cubicBezTo>
                    <a:cubicBezTo>
                      <a:pt x="70" y="0"/>
                      <a:pt x="0" y="70"/>
                      <a:pt x="0" y="156"/>
                    </a:cubicBezTo>
                    <a:cubicBezTo>
                      <a:pt x="0" y="185"/>
                      <a:pt x="8" y="212"/>
                      <a:pt x="21" y="235"/>
                    </a:cubicBezTo>
                    <a:cubicBezTo>
                      <a:pt x="21" y="235"/>
                      <a:pt x="21" y="235"/>
                      <a:pt x="21" y="235"/>
                    </a:cubicBezTo>
                    <a:cubicBezTo>
                      <a:pt x="156" y="468"/>
                      <a:pt x="156" y="468"/>
                      <a:pt x="156" y="468"/>
                    </a:cubicBezTo>
                    <a:cubicBezTo>
                      <a:pt x="291" y="235"/>
                      <a:pt x="291" y="235"/>
                      <a:pt x="291" y="235"/>
                    </a:cubicBezTo>
                    <a:cubicBezTo>
                      <a:pt x="291" y="235"/>
                      <a:pt x="291" y="235"/>
                      <a:pt x="291" y="235"/>
                    </a:cubicBezTo>
                    <a:cubicBezTo>
                      <a:pt x="304" y="212"/>
                      <a:pt x="312" y="185"/>
                      <a:pt x="312" y="15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377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CA" sz="1733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3"/>
                    </a:solidFill>
                    <a:effectLst/>
                    <a:uLnTx/>
                    <a:uFillTx/>
                    <a:latin typeface="Utopia Std" panose="02040603060506020204" pitchFamily="18" charset="0"/>
                  </a:rPr>
                  <a:t>Business</a:t>
                </a:r>
                <a:br>
                  <a:rPr kumimoji="0" lang="en-CA" sz="1733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3"/>
                    </a:solidFill>
                    <a:effectLst/>
                    <a:uLnTx/>
                    <a:uFillTx/>
                    <a:latin typeface="Utopia Std" panose="02040603060506020204" pitchFamily="18" charset="0"/>
                  </a:rPr>
                </a:br>
                <a:r>
                  <a:rPr kumimoji="0" lang="en-CA" sz="1733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3"/>
                    </a:solidFill>
                    <a:effectLst/>
                    <a:uLnTx/>
                    <a:uFillTx/>
                    <a:latin typeface="Utopia Std" panose="02040603060506020204" pitchFamily="18" charset="0"/>
                  </a:rPr>
                  <a:t>Impact</a:t>
                </a:r>
              </a:p>
            </p:txBody>
          </p:sp>
          <p:sp>
            <p:nvSpPr>
              <p:cNvPr id="38" name="Freeform 5">
                <a:extLst>
                  <a:ext uri="{FF2B5EF4-FFF2-40B4-BE49-F238E27FC236}">
                    <a16:creationId xmlns:a16="http://schemas.microsoft.com/office/drawing/2014/main" id="{8992DC8D-F769-4603-9F7C-62307E34061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8367" y="2794795"/>
                <a:ext cx="1760537" cy="1319213"/>
              </a:xfrm>
              <a:custGeom>
                <a:avLst/>
                <a:gdLst>
                  <a:gd name="T0" fmla="*/ 5304 w 9224"/>
                  <a:gd name="T1" fmla="*/ 6045 h 6932"/>
                  <a:gd name="T2" fmla="*/ 908 w 9224"/>
                  <a:gd name="T3" fmla="*/ 4890 h 6932"/>
                  <a:gd name="T4" fmla="*/ 2043 w 9224"/>
                  <a:gd name="T5" fmla="*/ 475 h 6932"/>
                  <a:gd name="T6" fmla="*/ 3674 w 9224"/>
                  <a:gd name="T7" fmla="*/ 42 h 6932"/>
                  <a:gd name="T8" fmla="*/ 3674 w 9224"/>
                  <a:gd name="T9" fmla="*/ 42 h 6932"/>
                  <a:gd name="T10" fmla="*/ 9224 w 9224"/>
                  <a:gd name="T11" fmla="*/ 0 h 6932"/>
                  <a:gd name="T12" fmla="*/ 6480 w 9224"/>
                  <a:gd name="T13" fmla="*/ 4828 h 6932"/>
                  <a:gd name="T14" fmla="*/ 6480 w 9224"/>
                  <a:gd name="T15" fmla="*/ 4828 h 6932"/>
                  <a:gd name="T16" fmla="*/ 5304 w 9224"/>
                  <a:gd name="T17" fmla="*/ 6045 h 69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24" h="6932">
                    <a:moveTo>
                      <a:pt x="5304" y="6045"/>
                    </a:moveTo>
                    <a:cubicBezTo>
                      <a:pt x="3777" y="6932"/>
                      <a:pt x="1796" y="6417"/>
                      <a:pt x="908" y="4890"/>
                    </a:cubicBezTo>
                    <a:cubicBezTo>
                      <a:pt x="0" y="3363"/>
                      <a:pt x="516" y="1383"/>
                      <a:pt x="2043" y="475"/>
                    </a:cubicBezTo>
                    <a:cubicBezTo>
                      <a:pt x="2559" y="186"/>
                      <a:pt x="3116" y="42"/>
                      <a:pt x="3674" y="42"/>
                    </a:cubicBezTo>
                    <a:cubicBezTo>
                      <a:pt x="3674" y="42"/>
                      <a:pt x="3674" y="42"/>
                      <a:pt x="3674" y="42"/>
                    </a:cubicBezTo>
                    <a:cubicBezTo>
                      <a:pt x="9224" y="0"/>
                      <a:pt x="9224" y="0"/>
                      <a:pt x="9224" y="0"/>
                    </a:cubicBezTo>
                    <a:cubicBezTo>
                      <a:pt x="6480" y="4828"/>
                      <a:pt x="6480" y="4828"/>
                      <a:pt x="6480" y="4828"/>
                    </a:cubicBezTo>
                    <a:cubicBezTo>
                      <a:pt x="6480" y="4828"/>
                      <a:pt x="6480" y="4828"/>
                      <a:pt x="6480" y="4828"/>
                    </a:cubicBezTo>
                    <a:cubicBezTo>
                      <a:pt x="6212" y="5323"/>
                      <a:pt x="5820" y="5736"/>
                      <a:pt x="5304" y="6045"/>
                    </a:cubicBezTo>
                  </a:path>
                </a:pathLst>
              </a:custGeom>
              <a:solidFill>
                <a:schemeClr val="accent3">
                  <a:lumMod val="75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0" tIns="365760" rIns="41148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 defTabSz="914377"/>
                <a:r>
                  <a:rPr lang="en-CA" sz="1733" b="1" kern="0" dirty="0">
                    <a:solidFill>
                      <a:schemeClr val="accent3">
                        <a:lumMod val="75000"/>
                      </a:schemeClr>
                    </a:solidFill>
                    <a:latin typeface="Utopia Std" panose="02040603060506020204" pitchFamily="18" charset="0"/>
                  </a:rPr>
                  <a:t>Demand</a:t>
                </a:r>
                <a:br>
                  <a:rPr lang="en-CA" sz="1733" b="1" kern="0" dirty="0">
                    <a:solidFill>
                      <a:schemeClr val="accent3">
                        <a:lumMod val="75000"/>
                      </a:schemeClr>
                    </a:solidFill>
                    <a:latin typeface="Utopia Std" panose="02040603060506020204" pitchFamily="18" charset="0"/>
                  </a:rPr>
                </a:br>
                <a:r>
                  <a:rPr lang="en-CA" sz="1733" b="1" kern="0" dirty="0">
                    <a:solidFill>
                      <a:schemeClr val="accent3">
                        <a:lumMod val="75000"/>
                      </a:schemeClr>
                    </a:solidFill>
                    <a:latin typeface="Utopia Std" panose="02040603060506020204" pitchFamily="18" charset="0"/>
                  </a:rPr>
                  <a:t>Management</a:t>
                </a:r>
              </a:p>
            </p:txBody>
          </p:sp>
        </p:grpSp>
        <p:sp>
          <p:nvSpPr>
            <p:cNvPr id="32" name="Arc 31">
              <a:extLst>
                <a:ext uri="{FF2B5EF4-FFF2-40B4-BE49-F238E27FC236}">
                  <a16:creationId xmlns:a16="http://schemas.microsoft.com/office/drawing/2014/main" id="{9E7872BC-8905-4898-9041-AFC24B8DD397}"/>
                </a:ext>
              </a:extLst>
            </p:cNvPr>
            <p:cNvSpPr/>
            <p:nvPr/>
          </p:nvSpPr>
          <p:spPr>
            <a:xfrm>
              <a:off x="3967673" y="136354"/>
              <a:ext cx="4954956" cy="4954956"/>
            </a:xfrm>
            <a:prstGeom prst="arc">
              <a:avLst>
                <a:gd name="adj1" fmla="val 16338616"/>
                <a:gd name="adj2" fmla="val 16199262"/>
              </a:avLst>
            </a:prstGeom>
            <a:ln w="41275">
              <a:solidFill>
                <a:schemeClr val="accent3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733" dirty="0"/>
            </a:p>
          </p:txBody>
        </p:sp>
      </p:grpSp>
    </p:spTree>
    <p:extLst>
      <p:ext uri="{BB962C8B-B14F-4D97-AF65-F5344CB8AC3E}">
        <p14:creationId xmlns:p14="http://schemas.microsoft.com/office/powerpoint/2010/main" val="21237529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Soli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B3C598B-3E1B-4D47-9E24-268FE0FD0584}"/>
              </a:ext>
            </a:extLst>
          </p:cNvPr>
          <p:cNvSpPr/>
          <p:nvPr/>
        </p:nvSpPr>
        <p:spPr>
          <a:xfrm>
            <a:off x="0" y="6080856"/>
            <a:ext cx="12192000" cy="77714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3474396802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ark Blu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2" name="Rectangle 1"/>
          <p:cNvSpPr/>
          <p:nvPr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6979B03-DD5B-4B2C-9A64-5EC259EE61EB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B3B0D7-6A8D-4E61-AC96-2C8E3625A2AE}"/>
              </a:ext>
            </a:extLst>
          </p:cNvPr>
          <p:cNvSpPr txBox="1"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3"/>
          </a:solidFill>
        </p:spPr>
        <p:txBody>
          <a:bodyPr wrap="square" lIns="121920" tIns="0" rIns="121920" bIns="0" rtlCol="0">
            <a:noAutofit/>
          </a:bodyPr>
          <a:lstStyle/>
          <a:p>
            <a:endParaRPr lang="en-CA" sz="2933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D6D9EAC-F0BA-45E7-9E1C-82C8AAD4E1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86282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>
                <a:solidFill>
                  <a:srgbClr val="0061A0"/>
                </a:solidFill>
              </a:rPr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4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AE34CF-442B-472F-B46C-2E2E2B2722AE}"/>
              </a:ext>
            </a:extLst>
          </p:cNvPr>
          <p:cNvSpPr/>
          <p:nvPr/>
        </p:nvSpPr>
        <p:spPr>
          <a:xfrm>
            <a:off x="2" y="1244600"/>
            <a:ext cx="1919111" cy="44195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4">
              <a:defRPr/>
            </a:pPr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9995648" y="3719061"/>
            <a:ext cx="2196352" cy="680684"/>
          </a:xfrm>
        </p:spPr>
        <p:txBody>
          <a:bodyPr/>
          <a:lstStyle>
            <a:lvl1pPr algn="ctr">
              <a:defRPr sz="2400" b="1">
                <a:solidFill>
                  <a:schemeClr val="accent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Time</a:t>
            </a:r>
            <a:endParaRPr lang="en-C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" y="1244600"/>
            <a:ext cx="9995647" cy="4419600"/>
          </a:xfrm>
          <a:solidFill>
            <a:schemeClr val="accent3"/>
          </a:solidFill>
        </p:spPr>
        <p:txBody>
          <a:bodyPr lIns="288000" anchor="ctr" anchorCtr="0"/>
          <a:lstStyle>
            <a:lvl1pPr marL="0" indent="0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defRPr sz="2667" b="1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None/>
              <a:defRPr sz="2667">
                <a:solidFill>
                  <a:schemeClr val="bg1"/>
                </a:solidFill>
              </a:defRPr>
            </a:lvl2pPr>
            <a:lvl3pPr marL="174621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5B545B0-3B0B-4973-8A68-5A6AF620E6A7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D3C2A83E-0728-45EF-98C5-EDBC429CDC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11335" y="2198416"/>
            <a:ext cx="1364979" cy="13649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401113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lue Soli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B3C598B-3E1B-4D47-9E24-268FE0FD0584}"/>
              </a:ext>
            </a:extLst>
          </p:cNvPr>
          <p:cNvSpPr/>
          <p:nvPr/>
        </p:nvSpPr>
        <p:spPr>
          <a:xfrm>
            <a:off x="0" y="6080856"/>
            <a:ext cx="12192000" cy="77714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301476126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ght Blu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CA" dirty="0">
                <a:solidFill>
                  <a:srgbClr val="0061A0"/>
                </a:solidFill>
              </a:rPr>
              <a:t>To edit go to: Insert &gt; Header and Footer   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235" y="0"/>
            <a:ext cx="1218776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>
              <a:solidFill>
                <a:srgbClr val="FFFFFF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AB4F2F3-44E7-4FFB-91D1-67FE6687F76E}"/>
              </a:ext>
            </a:extLst>
          </p:cNvPr>
          <p:cNvSpPr/>
          <p:nvPr/>
        </p:nvSpPr>
        <p:spPr>
          <a:xfrm>
            <a:off x="4235" y="0"/>
            <a:ext cx="609176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4BE9A4B-F243-4842-8BF7-11414BF4AC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11623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nk Soli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B3C598B-3E1B-4D47-9E24-268FE0FD0584}"/>
              </a:ext>
            </a:extLst>
          </p:cNvPr>
          <p:cNvSpPr/>
          <p:nvPr/>
        </p:nvSpPr>
        <p:spPr>
          <a:xfrm>
            <a:off x="0" y="6080856"/>
            <a:ext cx="12192000" cy="777145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359889054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atch 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3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CA" dirty="0">
                <a:solidFill>
                  <a:srgbClr val="0061A0"/>
                </a:solidFill>
              </a:rPr>
              <a:t>To edit go to: Insert &gt; Header and Footer   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235" y="0"/>
            <a:ext cx="1218776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9542644-3B09-46BF-9F3C-0E674F54A0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5924156-268A-4B38-A0F5-CAE01243CA41}"/>
              </a:ext>
            </a:extLst>
          </p:cNvPr>
          <p:cNvSpPr/>
          <p:nvPr/>
        </p:nvSpPr>
        <p:spPr>
          <a:xfrm>
            <a:off x="4235" y="0"/>
            <a:ext cx="609176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853440" rtlCol="0" anchor="ctr"/>
          <a:lstStyle/>
          <a:p>
            <a:pPr algn="l"/>
            <a:r>
              <a:rPr lang="en-CA" sz="5867" b="1" dirty="0">
                <a:latin typeface="Georgia" panose="02040502050405020303" pitchFamily="18" charset="0"/>
              </a:rPr>
              <a:t>Watch out!</a:t>
            </a:r>
            <a:br>
              <a:rPr lang="en-CA" sz="5867" b="1" dirty="0">
                <a:latin typeface="Georgia" panose="02040502050405020303" pitchFamily="18" charset="0"/>
              </a:rPr>
            </a:br>
            <a:endParaRPr lang="en-CA" sz="5867" b="1" dirty="0"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439848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l Soli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B3C598B-3E1B-4D47-9E24-268FE0FD0584}"/>
              </a:ext>
            </a:extLst>
          </p:cNvPr>
          <p:cNvSpPr/>
          <p:nvPr/>
        </p:nvSpPr>
        <p:spPr>
          <a:xfrm>
            <a:off x="0" y="6080856"/>
            <a:ext cx="12192000" cy="77714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38076512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9680E-E002-4494-9640-AB8BE08184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EAD7B7-7249-4B97-BA00-E958103677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635D71-27BD-4F6E-AF67-AE81CB72EA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A988E-5136-49F6-B8EE-7193D602560F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1B38F0-9582-4A03-B657-97F6AE96EA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09A461-069D-4A03-9CC3-2F8AD6280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A4622-18A9-4DE8-9BD1-6CD4E678A0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05778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actis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CA" dirty="0">
                <a:solidFill>
                  <a:srgbClr val="0061A0"/>
                </a:solidFill>
              </a:rPr>
              <a:t>To edit go to: Insert &gt; Header and Footer   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235" y="0"/>
            <a:ext cx="1218776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BDF66D6-C094-46FC-9AEC-015B65456D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9F2A02-0E2D-4B85-B062-C5227D5C1E24}"/>
              </a:ext>
            </a:extLst>
          </p:cNvPr>
          <p:cNvSpPr/>
          <p:nvPr/>
        </p:nvSpPr>
        <p:spPr>
          <a:xfrm>
            <a:off x="0" y="0"/>
            <a:ext cx="6091765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2194560" rtlCol="0" anchor="ctr"/>
          <a:lstStyle/>
          <a:p>
            <a:pPr algn="l"/>
            <a:r>
              <a:rPr lang="en-CA" sz="5867" b="1" dirty="0">
                <a:latin typeface="Georgia" panose="02040502050405020303" pitchFamily="18" charset="0"/>
              </a:rPr>
              <a:t>Practise</a:t>
            </a:r>
          </a:p>
        </p:txBody>
      </p:sp>
    </p:spTree>
    <p:extLst>
      <p:ext uri="{BB962C8B-B14F-4D97-AF65-F5344CB8AC3E}">
        <p14:creationId xmlns:p14="http://schemas.microsoft.com/office/powerpoint/2010/main" val="359358046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actise High Med Low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1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CA" dirty="0">
                <a:solidFill>
                  <a:srgbClr val="0061A0"/>
                </a:solidFill>
              </a:rPr>
              <a:t>To edit go to: Insert &gt; Header and Footer   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235" y="0"/>
            <a:ext cx="1218776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BDF66D6-C094-46FC-9AEC-015B65456D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9F2A02-0E2D-4B85-B062-C5227D5C1E24}"/>
              </a:ext>
            </a:extLst>
          </p:cNvPr>
          <p:cNvSpPr/>
          <p:nvPr/>
        </p:nvSpPr>
        <p:spPr>
          <a:xfrm>
            <a:off x="0" y="0"/>
            <a:ext cx="6091765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2194560" rtlCol="0" anchor="ctr"/>
          <a:lstStyle/>
          <a:p>
            <a:pPr algn="l"/>
            <a:r>
              <a:rPr lang="en-CA" sz="5867" b="1" dirty="0">
                <a:latin typeface="Georgia" panose="02040502050405020303" pitchFamily="18" charset="0"/>
              </a:rPr>
              <a:t>Practis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47B6F5A-F60B-42E4-9039-17E24B960DEF}"/>
              </a:ext>
            </a:extLst>
          </p:cNvPr>
          <p:cNvSpPr/>
          <p:nvPr/>
        </p:nvSpPr>
        <p:spPr>
          <a:xfrm>
            <a:off x="122035" y="2841516"/>
            <a:ext cx="5181227" cy="6667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sz="3733" b="1" dirty="0">
                <a:solidFill>
                  <a:schemeClr val="bg1"/>
                </a:solidFill>
              </a:rPr>
              <a:t>High, medium or low?</a:t>
            </a:r>
          </a:p>
        </p:txBody>
      </p:sp>
    </p:spTree>
    <p:extLst>
      <p:ext uri="{BB962C8B-B14F-4D97-AF65-F5344CB8AC3E}">
        <p14:creationId xmlns:p14="http://schemas.microsoft.com/office/powerpoint/2010/main" val="56982878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ractise Which More Hal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CA" dirty="0">
                <a:solidFill>
                  <a:srgbClr val="0061A0"/>
                </a:solidFill>
              </a:rPr>
              <a:t>To edit go to: Insert &gt; Header and Footer   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235" y="0"/>
            <a:ext cx="1218776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BDF66D6-C094-46FC-9AEC-015B65456D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09F2A02-0E2D-4B85-B062-C5227D5C1E24}"/>
              </a:ext>
            </a:extLst>
          </p:cNvPr>
          <p:cNvSpPr/>
          <p:nvPr/>
        </p:nvSpPr>
        <p:spPr>
          <a:xfrm>
            <a:off x="0" y="0"/>
            <a:ext cx="6091765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2194560" rtlCol="0" anchor="ctr"/>
          <a:lstStyle/>
          <a:p>
            <a:pPr algn="l"/>
            <a:r>
              <a:rPr lang="en-CA" sz="5867" b="1" dirty="0">
                <a:latin typeface="Georgia" panose="02040502050405020303" pitchFamily="18" charset="0"/>
              </a:rPr>
              <a:t>Practis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47B6F5A-F60B-42E4-9039-17E24B960DEF}"/>
              </a:ext>
            </a:extLst>
          </p:cNvPr>
          <p:cNvSpPr/>
          <p:nvPr/>
        </p:nvSpPr>
        <p:spPr>
          <a:xfrm>
            <a:off x="122035" y="2841516"/>
            <a:ext cx="4701928" cy="6667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CA" sz="3733" b="1" dirty="0">
                <a:solidFill>
                  <a:schemeClr val="bg1"/>
                </a:solidFill>
              </a:rPr>
              <a:t>Which More is this?</a:t>
            </a:r>
          </a:p>
        </p:txBody>
      </p:sp>
    </p:spTree>
    <p:extLst>
      <p:ext uri="{BB962C8B-B14F-4D97-AF65-F5344CB8AC3E}">
        <p14:creationId xmlns:p14="http://schemas.microsoft.com/office/powerpoint/2010/main" val="399769500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een Soli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>
            <a:off x="0" y="6172200"/>
            <a:ext cx="12192000" cy="685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24A86A-2941-4650-A04E-075B96279E64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200487248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ink Ab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CA" dirty="0">
                <a:solidFill>
                  <a:srgbClr val="0061A0"/>
                </a:solidFill>
              </a:rPr>
              <a:t>To edit go to: Insert &gt; Header and Footer   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235" y="0"/>
            <a:ext cx="1218776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>
              <a:solidFill>
                <a:srgbClr val="FFFFFF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AB4F2F3-44E7-4FFB-91D1-67FE6687F76E}"/>
              </a:ext>
            </a:extLst>
          </p:cNvPr>
          <p:cNvSpPr/>
          <p:nvPr/>
        </p:nvSpPr>
        <p:spPr>
          <a:xfrm>
            <a:off x="4235" y="0"/>
            <a:ext cx="609176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AF8E3EF-A0C3-44C5-9376-1E2F88C214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994411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ll 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CA" dirty="0">
                <a:solidFill>
                  <a:srgbClr val="0061A0"/>
                </a:solidFill>
              </a:rPr>
              <a:t>To edit go to: Insert &gt; Header and Footer   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235" y="0"/>
            <a:ext cx="1218776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>
              <a:solidFill>
                <a:srgbClr val="FFFFFF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AB4F2F3-44E7-4FFB-91D1-67FE6687F76E}"/>
              </a:ext>
            </a:extLst>
          </p:cNvPr>
          <p:cNvSpPr/>
          <p:nvPr/>
        </p:nvSpPr>
        <p:spPr>
          <a:xfrm>
            <a:off x="4235" y="0"/>
            <a:ext cx="6091765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3840" bIns="1950720" rtlCol="0" anchor="ctr"/>
          <a:lstStyle/>
          <a:p>
            <a:pPr algn="l"/>
            <a:r>
              <a:rPr lang="en-CA" sz="5867" b="1" dirty="0">
                <a:latin typeface="Georgia" panose="02040502050405020303" pitchFamily="18" charset="0"/>
              </a:rPr>
              <a:t>Call ou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9401483-A018-42AB-B4ED-B99DBE83D2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46964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un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6200000" flipH="1">
            <a:off x="2665044" y="-2665043"/>
            <a:ext cx="6861909" cy="12192003"/>
          </a:xfrm>
          <a:prstGeom prst="rect">
            <a:avLst/>
          </a:prstGeom>
        </p:spPr>
      </p:pic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</p:spPr>
        <p:txBody>
          <a:bodyPr/>
          <a:lstStyle/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3992207" y="680907"/>
            <a:ext cx="3657600" cy="233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200" b="1" dirty="0">
                <a:solidFill>
                  <a:schemeClr val="accent2">
                    <a:lumMod val="50000"/>
                  </a:schemeClr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Lunch</a:t>
            </a:r>
            <a:endParaRPr lang="en-GB" sz="3733" b="1" dirty="0">
              <a:solidFill>
                <a:schemeClr val="accent2">
                  <a:lumMod val="50000"/>
                </a:schemeClr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155895C-A215-41D4-A925-C865B6A73F34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2836310048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206689" cy="6858000"/>
          </a:xfrm>
          <a:prstGeom prst="rect">
            <a:avLst/>
          </a:prstGeom>
        </p:spPr>
      </p:pic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</p:spPr>
        <p:txBody>
          <a:bodyPr/>
          <a:lstStyle/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292967" y="709203"/>
            <a:ext cx="3657600" cy="23368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7200" b="1" dirty="0">
                <a:solidFill>
                  <a:schemeClr val="bg1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Break</a:t>
            </a:r>
            <a:endParaRPr lang="en-GB" sz="3733" b="1" dirty="0">
              <a:solidFill>
                <a:schemeClr val="bg1"/>
              </a:solidFill>
              <a:latin typeface="Georgia" panose="02040502050405020303" pitchFamily="18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15031425-23A1-4452-82FA-2E65A12D9D14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</p:spTree>
    <p:extLst>
      <p:ext uri="{BB962C8B-B14F-4D97-AF65-F5344CB8AC3E}">
        <p14:creationId xmlns:p14="http://schemas.microsoft.com/office/powerpoint/2010/main" val="351896581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shbow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7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CA" dirty="0">
                <a:solidFill>
                  <a:srgbClr val="0061A0"/>
                </a:solidFill>
              </a:rPr>
              <a:t>To edit go to: Insert &gt; Header and Footer   </a:t>
            </a:r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235" y="0"/>
            <a:ext cx="1218776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>
              <a:solidFill>
                <a:srgbClr val="FFFFFF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26827" y="376780"/>
            <a:ext cx="7165173" cy="6295136"/>
          </a:xfrm>
          <a:prstGeom prst="rect">
            <a:avLst/>
          </a:prstGeom>
        </p:spPr>
      </p:pic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55600" y="1244600"/>
            <a:ext cx="4675717" cy="4927600"/>
          </a:xfrm>
        </p:spPr>
        <p:txBody>
          <a:bodyPr anchor="ctr" anchorCtr="0"/>
          <a:lstStyle>
            <a:lvl1pPr>
              <a:lnSpc>
                <a:spcPct val="100000"/>
              </a:lnSpc>
              <a:defRPr sz="3733" b="1">
                <a:latin typeface="Georgia" panose="02040502050405020303" pitchFamily="18" charset="0"/>
              </a:defRPr>
            </a:lvl1pPr>
            <a:lvl2pPr>
              <a:defRPr b="1">
                <a:latin typeface="Georgia" panose="02040502050405020303" pitchFamily="18" charset="0"/>
              </a:defRPr>
            </a:lvl2pPr>
            <a:lvl3pPr>
              <a:defRPr b="1">
                <a:latin typeface="Georgia" panose="02040502050405020303" pitchFamily="18" charset="0"/>
              </a:defRPr>
            </a:lvl3pPr>
            <a:lvl4pPr>
              <a:defRPr b="1">
                <a:latin typeface="Georgia" panose="02040502050405020303" pitchFamily="18" charset="0"/>
              </a:defRPr>
            </a:lvl4pPr>
            <a:lvl5pPr>
              <a:defRPr b="1">
                <a:latin typeface="Georgia" panose="02040502050405020303" pitchFamily="18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83596B-EE15-4F2D-A839-378FCE31DDE6}"/>
              </a:ext>
            </a:extLst>
          </p:cNvPr>
          <p:cNvSpPr/>
          <p:nvPr/>
        </p:nvSpPr>
        <p:spPr>
          <a:xfrm>
            <a:off x="-443345" y="-366699"/>
            <a:ext cx="362065" cy="3667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sz="2400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A6A1E79B-9196-44C9-8873-E1151607E9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13908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54663059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82" y="204836"/>
            <a:ext cx="11470980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1" y="707269"/>
            <a:ext cx="11478097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31803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 preferRelativeResize="0"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1140" y="947491"/>
            <a:ext cx="2314410" cy="159343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444028"/>
            <a:ext cx="7927258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8" name="Rectangle 17"/>
          <p:cNvSpPr/>
          <p:nvPr/>
        </p:nvSpPr>
        <p:spPr>
          <a:xfrm>
            <a:off x="7927258" y="6444028"/>
            <a:ext cx="122411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9" name="Rectangle 18"/>
          <p:cNvSpPr/>
          <p:nvPr/>
        </p:nvSpPr>
        <p:spPr>
          <a:xfrm>
            <a:off x="9151374" y="6444028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20" name="Rectangle 19"/>
          <p:cNvSpPr/>
          <p:nvPr/>
        </p:nvSpPr>
        <p:spPr>
          <a:xfrm>
            <a:off x="11621915" y="6444028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44022" y="3704884"/>
            <a:ext cx="10861522" cy="77421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8" y="4577048"/>
            <a:ext cx="6315584" cy="325152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8" y="4953003"/>
            <a:ext cx="6315584" cy="298451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314947"/>
            <a:ext cx="6315584" cy="292107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7" name="Picture 1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9FF351F-98B1-4157-82C7-4D1D6C2F097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8449" y="411416"/>
            <a:ext cx="3619219" cy="1054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73043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1" y="2761644"/>
            <a:ext cx="11247907" cy="603863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6" y="3385488"/>
            <a:ext cx="1125185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5"/>
            <a:ext cx="7927258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2" name="Rectangle 11"/>
          <p:cNvSpPr/>
          <p:nvPr/>
        </p:nvSpPr>
        <p:spPr>
          <a:xfrm>
            <a:off x="7927258" y="5"/>
            <a:ext cx="122411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/>
        </p:nvSpPr>
        <p:spPr>
          <a:xfrm>
            <a:off x="9151374" y="5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4" name="Rectangle 13"/>
          <p:cNvSpPr/>
          <p:nvPr/>
        </p:nvSpPr>
        <p:spPr>
          <a:xfrm>
            <a:off x="11621915" y="5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11944790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4" y="1869025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4500"/>
              </a:lnSpc>
              <a:defRPr sz="2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6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52033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Slide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1" y="2761644"/>
            <a:ext cx="11247907" cy="603863"/>
          </a:xfrm>
        </p:spPr>
        <p:txBody>
          <a:bodyPr anchor="t"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6" y="3385488"/>
            <a:ext cx="1125185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007EB3-049D-4A79-9F83-B6347F21D860}"/>
              </a:ext>
            </a:extLst>
          </p:cNvPr>
          <p:cNvSpPr/>
          <p:nvPr/>
        </p:nvSpPr>
        <p:spPr>
          <a:xfrm>
            <a:off x="277640" y="6415346"/>
            <a:ext cx="1482715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38C543E-47EE-4AB2-A15A-107700E59F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247" y="6356597"/>
            <a:ext cx="1532809" cy="446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25996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" y="973194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2" y="998118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4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3345539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" y="973194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2" y="998118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4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350539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4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2" y="998118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" y="973194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4250556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7" y="1696288"/>
            <a:ext cx="114422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6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61357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82" y="204836"/>
            <a:ext cx="11470980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1" y="707269"/>
            <a:ext cx="11478097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003890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83" y="206479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7" y="1977238"/>
            <a:ext cx="114422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2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64603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632014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7" name="Rectangle 26"/>
          <p:cNvSpPr/>
          <p:nvPr/>
        </p:nvSpPr>
        <p:spPr>
          <a:xfrm>
            <a:off x="7927258" y="632014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8" name="Rectangle 27"/>
          <p:cNvSpPr/>
          <p:nvPr/>
        </p:nvSpPr>
        <p:spPr>
          <a:xfrm>
            <a:off x="9151373" y="632014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9" name="Rectangle 28"/>
          <p:cNvSpPr/>
          <p:nvPr/>
        </p:nvSpPr>
        <p:spPr>
          <a:xfrm>
            <a:off x="11621916" y="632014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95335"/>
            <a:ext cx="6315584" cy="397933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477925"/>
            <a:ext cx="6315584" cy="389475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3" name="metlife_eng_tagline_cmyk.jpg" descr="/Users/ldorion/Desktop/PPT/Assets/metlife_eng_tagline_cmyk.jpg"/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3469" y="955726"/>
            <a:ext cx="2675467" cy="48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52483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8883" y="206479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2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510765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5" y="1032011"/>
            <a:ext cx="182590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5" y="1032011"/>
            <a:ext cx="1830178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3" y="1032011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5" y="1032011"/>
            <a:ext cx="1830178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4" name="Rectangle 3"/>
          <p:cNvSpPr/>
          <p:nvPr/>
        </p:nvSpPr>
        <p:spPr>
          <a:xfrm>
            <a:off x="366852" y="1434907"/>
            <a:ext cx="1830178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/>
          <p:cNvSpPr/>
          <p:nvPr/>
        </p:nvSpPr>
        <p:spPr>
          <a:xfrm>
            <a:off x="2578925" y="1434907"/>
            <a:ext cx="1830178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Rectangle 19"/>
          <p:cNvSpPr/>
          <p:nvPr/>
        </p:nvSpPr>
        <p:spPr>
          <a:xfrm>
            <a:off x="4791004" y="1433859"/>
            <a:ext cx="1830178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Rectangle 20"/>
          <p:cNvSpPr/>
          <p:nvPr/>
        </p:nvSpPr>
        <p:spPr>
          <a:xfrm>
            <a:off x="7003067" y="1434907"/>
            <a:ext cx="1830178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Rectangle 26"/>
          <p:cNvSpPr/>
          <p:nvPr/>
        </p:nvSpPr>
        <p:spPr>
          <a:xfrm>
            <a:off x="9215145" y="1434907"/>
            <a:ext cx="1830178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1004" y="1032011"/>
            <a:ext cx="1830178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7" y="1696288"/>
            <a:ext cx="114422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42469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11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7" y="1032011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11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7" y="1032011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11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7" y="1696288"/>
            <a:ext cx="114422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47763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7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7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115580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9" y="1845871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507" y="1845871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51" y="1845871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8" y="2659255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1" y="2659255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659255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353132" y="857366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871170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6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56418" y="1920550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56418" y="3181452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356418" y="4466717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4090141" y="1857050"/>
            <a:ext cx="7255468" cy="862965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8"/>
          </p:nvPr>
        </p:nvSpPr>
        <p:spPr>
          <a:xfrm>
            <a:off x="4090141" y="3125663"/>
            <a:ext cx="7255468" cy="879612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9"/>
          </p:nvPr>
        </p:nvSpPr>
        <p:spPr>
          <a:xfrm>
            <a:off x="4090141" y="4403211"/>
            <a:ext cx="7255468" cy="1045091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7170792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2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2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2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6" y="4122422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58883" y="206479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2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1822036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6611396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Slide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3" y="3316114"/>
            <a:ext cx="11247907" cy="700548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6" y="4028861"/>
            <a:ext cx="11251852" cy="479067"/>
          </a:xfrm>
        </p:spPr>
        <p:txBody>
          <a:bodyPr lIns="91440" tIns="0" rIns="91440" bIns="0" anchor="t" anchorCtr="0">
            <a:noAutofit/>
          </a:bodyPr>
          <a:lstStyle>
            <a:lvl1pPr>
              <a:defRPr sz="24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2" y="6415346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8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FD8EA8-9CDF-498D-B9DE-685E1F739E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1898" y="603253"/>
            <a:ext cx="1500411" cy="2574551"/>
          </a:xfrm>
        </p:spPr>
        <p:txBody>
          <a:bodyPr wrap="none" lIns="0" tIns="0" rIns="0" bIns="0">
            <a:noAutofit/>
          </a:bodyPr>
          <a:lstStyle>
            <a:lvl1pPr>
              <a:lnSpc>
                <a:spcPct val="70000"/>
              </a:lnSpc>
              <a:defRPr sz="239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99024B-1A0B-4857-AD77-7EDDD1678540}"/>
              </a:ext>
            </a:extLst>
          </p:cNvPr>
          <p:cNvSpPr/>
          <p:nvPr/>
        </p:nvSpPr>
        <p:spPr>
          <a:xfrm>
            <a:off x="277640" y="6415346"/>
            <a:ext cx="1482715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ACBDE3-8C3F-461B-AAF4-1158F81750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247" y="6356597"/>
            <a:ext cx="1532809" cy="446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16330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846717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37"/>
            <a:ext cx="11247907" cy="700548"/>
          </a:xfrm>
        </p:spPr>
        <p:txBody>
          <a:bodyPr anchor="t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5" y="3474381"/>
            <a:ext cx="11251852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0" y="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7" name="Rectangle 16"/>
          <p:cNvSpPr/>
          <p:nvPr/>
        </p:nvSpPr>
        <p:spPr>
          <a:xfrm>
            <a:off x="7927258" y="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8" name="Rectangle 17"/>
          <p:cNvSpPr/>
          <p:nvPr/>
        </p:nvSpPr>
        <p:spPr>
          <a:xfrm>
            <a:off x="9151375" y="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3" name="Rectangle 22"/>
          <p:cNvSpPr/>
          <p:nvPr/>
        </p:nvSpPr>
        <p:spPr>
          <a:xfrm>
            <a:off x="11621917" y="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6170591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olid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9454437" cy="2987675"/>
          </a:xfrm>
        </p:spPr>
        <p:txBody>
          <a:bodyPr anchor="ctr"/>
          <a:lstStyle>
            <a:lvl1pPr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072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5124C-A6DD-8D46-A6F8-38F5FE0EBC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E46F01C-00BA-1249-AFFE-A059B5BC21A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CDD00F6-E8D7-6649-935F-7FDBA00805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A3802-2B6C-864C-A32A-41D25EB5E962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3504D7-C8A7-8A4D-A053-5AC3C25815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013C530-DA89-3647-B22B-EB1CFD70E4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30D9F-F969-1649-83ED-214B93E0C4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570843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1BADCB-679F-994F-AC08-AFB642CB9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1E87DE-E220-2A4A-A119-AC0F969401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326CE8-1E64-3740-9B4B-8929FC7501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A3802-2B6C-864C-A32A-41D25EB5E962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20120C-0ACF-8747-97FF-CE6CB469CE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CEE9E3-33BE-004C-A7CA-E804061E09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30D9F-F969-1649-83ED-214B93E0C4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489873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2D3B5A-B0E8-6141-8E23-EE06E059CB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08075D-816E-C24C-A448-DEEAA4640D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321966-D4E0-CF49-BEC0-903956B3A5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A3802-2B6C-864C-A32A-41D25EB5E962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3F1C4C-4134-954D-9F1C-309EDA36FC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3CDDD72-70FA-A942-A9A7-E921A090F9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30D9F-F969-1649-83ED-214B93E0C4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49105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264F33-5688-8043-9237-6A5B5A5D8F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296F27-A303-C54A-AEEA-5777C9EC1B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0F24107-2AF9-824D-997D-7F0A098F5F1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9A1AF5-2461-5E49-B87E-5280252CD5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A3802-2B6C-864C-A32A-41D25EB5E962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A589F32-09B4-7A40-814F-8B9CA4E17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D618A0-3596-CD4A-827C-3AED91489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30D9F-F969-1649-83ED-214B93E0C4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10993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E1C7DC-CA72-EB4B-B7B0-46194469A4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6532E8-19E7-DB43-8DED-DEA3732A2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664CE4-6E41-B14B-9035-DEE4324835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75FCE6-7F29-BE46-ABAD-3363BBF498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AAC3D0-585C-EC4E-9068-E55C3EE552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991B10A-92AC-8F46-AFB7-5522B363BD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A3802-2B6C-864C-A32A-41D25EB5E962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91E837F-841B-EA4A-839C-385F41C674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6AA4F48-E4D2-824B-84AA-904981854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30D9F-F969-1649-83ED-214B93E0C4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0929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9DD591-5EB1-7048-86B5-BC29BFD50D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2B25E0B-D6A3-E843-A865-CBC58D9D06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A3802-2B6C-864C-A32A-41D25EB5E962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ACD35C-4D85-D246-ABBD-C73BCBB33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2B8FC0-54CE-654F-9345-3C644BAD4A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30D9F-F969-1649-83ED-214B93E0C4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536605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A6DAA9D-9DC7-F945-BFC8-F3C4FB53B8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A3802-2B6C-864C-A32A-41D25EB5E962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9C3B201-527E-E844-B691-132CFCF3B6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681807-8239-4347-8847-447972D296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30D9F-F969-1649-83ED-214B93E0C4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62569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F134A5-9F81-894F-AF9D-9B63511D16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E00285-1EF5-D348-86AE-62B3341725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07AB08-8376-8A41-A451-FE5ECA77D9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3DB2B5A-BAE4-C94F-A6D0-EE7153CF1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A3802-2B6C-864C-A32A-41D25EB5E962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BB8189-449D-5547-9BDF-CE2C25ACDE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E39B7A-3B57-A547-AD84-81F2331A7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30D9F-F969-1649-83ED-214B93E0C4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763549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1AAA55-63A4-EB40-80AB-673E555E7C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90C5933-86EE-0541-B111-D4102D74F2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AFCDE8-6DAE-2B45-A23E-0763CB30EF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DB3F3E3-4A6C-3647-A33D-A65BB1131F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A3802-2B6C-864C-A32A-41D25EB5E962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506F58-D58B-C147-868B-C87E496495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9CDECA7-F4E8-A147-B182-6B605F7BEE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30D9F-F969-1649-83ED-214B93E0C4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3690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3" y="186901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6000"/>
              </a:lnSpc>
              <a:defRPr sz="2933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169098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50B9DF-FC1C-7448-9E80-E363E1618D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0C37CE4-36B7-4246-A391-A231F12BE3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C9DF93-50A6-B543-9402-620106523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A3802-2B6C-864C-A32A-41D25EB5E962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033D38-3803-A540-B1FD-3F1D0A4822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8C9A9CD-F513-BB40-A1FF-F489F9852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30D9F-F969-1649-83ED-214B93E0C4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53907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0076B72-AF38-6541-AA9F-9299180BE7B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0D9A32-3DB4-E448-BCE1-FD956C9EA2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F4E41B-A191-EA48-981A-0B1C0AC7B1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EA3802-2B6C-864C-A32A-41D25EB5E962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04A30-D51A-704F-8173-1F0FD5D24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55AAA1-F67B-BF46-B3FC-76B79F099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630D9F-F969-1649-83ED-214B93E0C4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9284644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 preferRelativeResize="0"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1156" y="947501"/>
            <a:ext cx="2314409" cy="159343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9" y="674182"/>
            <a:ext cx="2934117" cy="520139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4" y="6444052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7927260" y="6444052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9151375" y="6444052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1621919" y="6444052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44032" y="3704884"/>
            <a:ext cx="10861521" cy="77421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577048"/>
            <a:ext cx="6315584" cy="325152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53020"/>
            <a:ext cx="6315584" cy="298451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314964"/>
            <a:ext cx="6315584" cy="292107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03617938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8816393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5" y="2761666"/>
            <a:ext cx="11247908" cy="603863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3A5D2E96-09D4-684C-BDED-6024B7F4284C}" type="slidenum">
              <a:rPr lang="en-US" sz="1400" smtClean="0">
                <a:solidFill>
                  <a:srgbClr val="000000"/>
                </a:solidFill>
              </a:rPr>
              <a:pPr defTabSz="685800"/>
              <a:t>‹#›</a:t>
            </a:fld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74" y="3385500"/>
            <a:ext cx="1125185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" y="15"/>
            <a:ext cx="7927259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927260" y="15"/>
            <a:ext cx="1224117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151375" y="15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1621919" y="15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87402002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defTabSz="685800"/>
            <a:fld id="{3A5D2E96-09D4-684C-BDED-6024B7F4284C}" type="slidenum">
              <a:rPr lang="en-US" sz="1400" smtClean="0">
                <a:solidFill>
                  <a:srgbClr val="75787B"/>
                </a:solidFill>
              </a:rPr>
              <a:pPr defTabSz="685800"/>
              <a:t>‹#›</a:t>
            </a:fld>
            <a:endParaRPr lang="en-US" sz="1400">
              <a:solidFill>
                <a:srgbClr val="75787B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92" y="20485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9" y="1869033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4500"/>
              </a:lnSpc>
              <a:defRPr sz="2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6" y="85737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653672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3A5D2E96-09D4-684C-BDED-6024B7F4284C}" type="slidenum">
              <a:rPr lang="en-US" sz="1400" smtClean="0">
                <a:solidFill>
                  <a:srgbClr val="000000"/>
                </a:solidFill>
              </a:rPr>
              <a:pPr defTabSz="685800"/>
              <a:t>‹#›</a:t>
            </a:fld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" y="973203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8" y="998127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7" y="973203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97370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3A5D2E96-09D4-684C-BDED-6024B7F4284C}" type="slidenum">
              <a:rPr lang="en-US" sz="1400" smtClean="0">
                <a:solidFill>
                  <a:srgbClr val="000000"/>
                </a:solidFill>
              </a:rPr>
              <a:pPr defTabSz="685800"/>
              <a:t>‹#›</a:t>
            </a:fld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" y="973203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8" y="998127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7" y="973203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099463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7" y="973203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8" y="998127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3A5D2E96-09D4-684C-BDED-6024B7F4284C}" type="slidenum">
              <a:rPr lang="en-US" sz="1400" smtClean="0">
                <a:solidFill>
                  <a:srgbClr val="000000"/>
                </a:solidFill>
              </a:rPr>
              <a:pPr defTabSz="685800"/>
              <a:t>‹#›</a:t>
            </a:fld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" y="973203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21521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20" y="1696293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defTabSz="685800"/>
            <a:fld id="{3A5D2E96-09D4-684C-BDED-6024B7F4284C}" type="slidenum">
              <a:rPr lang="en-US" sz="1400" smtClean="0">
                <a:solidFill>
                  <a:srgbClr val="75787B"/>
                </a:solidFill>
              </a:rPr>
              <a:pPr defTabSz="685800"/>
              <a:t>‹#›</a:t>
            </a:fld>
            <a:endParaRPr lang="en-US" sz="1400">
              <a:solidFill>
                <a:srgbClr val="75787B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92" y="20485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6" y="85737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242436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60147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defTabSz="685800"/>
            <a:fld id="{3A5D2E96-09D4-684C-BDED-6024B7F4284C}" type="slidenum">
              <a:rPr lang="en-US" sz="1400" smtClean="0">
                <a:solidFill>
                  <a:srgbClr val="75787B"/>
                </a:solidFill>
              </a:rPr>
              <a:pPr defTabSz="685800"/>
              <a:t>‹#›</a:t>
            </a:fld>
            <a:endParaRPr lang="en-US" sz="1400">
              <a:solidFill>
                <a:srgbClr val="75787B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92" y="20485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6" y="85737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31128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defTabSz="685800"/>
            <a:fld id="{3A5D2E96-09D4-684C-BDED-6024B7F4284C}" type="slidenum">
              <a:rPr lang="en-US" sz="1400" smtClean="0">
                <a:solidFill>
                  <a:srgbClr val="75787B"/>
                </a:solidFill>
              </a:rPr>
              <a:pPr defTabSz="685800"/>
              <a:t>‹#›</a:t>
            </a:fld>
            <a:endParaRPr lang="en-US" sz="1400">
              <a:solidFill>
                <a:srgbClr val="75787B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92" y="206490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20" y="1977248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6" y="1219218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63561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defTabSz="685800"/>
            <a:fld id="{3A5D2E96-09D4-684C-BDED-6024B7F4284C}" type="slidenum">
              <a:rPr lang="en-US" sz="1400" smtClean="0">
                <a:solidFill>
                  <a:srgbClr val="75787B"/>
                </a:solidFill>
              </a:rPr>
              <a:pPr defTabSz="685800"/>
              <a:t>‹#›</a:t>
            </a:fld>
            <a:endParaRPr lang="en-US" sz="1400">
              <a:solidFill>
                <a:srgbClr val="75787B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8892" y="206490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6" y="1219218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0816094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92" y="20485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defTabSz="685800"/>
            <a:fld id="{3A5D2E96-09D4-684C-BDED-6024B7F4284C}" type="slidenum">
              <a:rPr lang="en-US" sz="1400" smtClean="0">
                <a:solidFill>
                  <a:srgbClr val="75787B"/>
                </a:solidFill>
              </a:rPr>
              <a:pPr defTabSz="685800"/>
              <a:t>‹#›</a:t>
            </a:fld>
            <a:endParaRPr lang="en-US" sz="1400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34" y="1032024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40" y="1032024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3" y="1032024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60" y="1032024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4" name="Rectangle 3"/>
          <p:cNvSpPr/>
          <p:nvPr/>
        </p:nvSpPr>
        <p:spPr>
          <a:xfrm>
            <a:off x="366861" y="143492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578940" y="143492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791020" y="1433881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003073" y="143492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9215160" y="143492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1020" y="1032024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20" y="1696293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47769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4292059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4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92" y="20485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defTabSz="685800"/>
            <a:fld id="{3A5D2E96-09D4-684C-BDED-6024B7F4284C}" type="slidenum">
              <a:rPr lang="en-US" sz="1400" smtClean="0">
                <a:solidFill>
                  <a:srgbClr val="75787B"/>
                </a:solidFill>
              </a:rPr>
              <a:pPr defTabSz="685800"/>
              <a:t>‹#›</a:t>
            </a:fld>
            <a:endParaRPr lang="en-US" sz="1400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41" y="1032024"/>
            <a:ext cx="1856047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9" y="1032024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5" y="1032024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24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9" y="1032024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20" y="1696293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448105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8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8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3A5D2E96-09D4-684C-BDED-6024B7F4284C}" type="slidenum">
              <a:rPr lang="en-US" sz="1400" smtClean="0">
                <a:solidFill>
                  <a:srgbClr val="000000"/>
                </a:solidFill>
              </a:rPr>
              <a:pPr defTabSz="685800"/>
              <a:t>‹#›</a:t>
            </a:fld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92" y="20485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8658503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83" y="1845884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defTabSz="685800"/>
            <a:fld id="{3A5D2E96-09D4-684C-BDED-6024B7F4284C}" type="slidenum">
              <a:rPr lang="en-US" sz="1400" smtClean="0">
                <a:solidFill>
                  <a:srgbClr val="75787B"/>
                </a:solidFill>
              </a:rPr>
              <a:pPr defTabSz="685800"/>
              <a:t>‹#›</a:t>
            </a:fld>
            <a:endParaRPr lang="en-US" sz="1400">
              <a:solidFill>
                <a:srgbClr val="75787B"/>
              </a:solidFill>
            </a:endParaRP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523" y="1845884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55" y="1845884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92" y="20485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83" y="2659272"/>
            <a:ext cx="3374767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5" y="2659272"/>
            <a:ext cx="3374767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9" y="2659272"/>
            <a:ext cx="3374767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353136" y="85737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48349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92" y="204855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defTabSz="685800"/>
            <a:fld id="{3A5D2E96-09D4-684C-BDED-6024B7F4284C}" type="slidenum">
              <a:rPr lang="en-US" sz="1400" smtClean="0">
                <a:solidFill>
                  <a:srgbClr val="75787B"/>
                </a:solidFill>
              </a:rPr>
              <a:pPr defTabSz="685800"/>
              <a:t>‹#›</a:t>
            </a:fld>
            <a:endParaRPr lang="en-US" sz="1400">
              <a:solidFill>
                <a:srgbClr val="75787B"/>
              </a:solidFill>
            </a:endParaRP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6" y="857371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56429" y="1920560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56429" y="3181468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356429" y="4466741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4090150" y="1857062"/>
            <a:ext cx="7255468" cy="862965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8"/>
          </p:nvPr>
        </p:nvSpPr>
        <p:spPr>
          <a:xfrm>
            <a:off x="4090150" y="3125663"/>
            <a:ext cx="7255468" cy="879612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9"/>
          </p:nvPr>
        </p:nvSpPr>
        <p:spPr>
          <a:xfrm>
            <a:off x="4090150" y="4403228"/>
            <a:ext cx="7255468" cy="1045091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082350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pPr defTabSz="685800"/>
            <a:fld id="{3A5D2E96-09D4-684C-BDED-6024B7F4284C}" type="slidenum">
              <a:rPr lang="en-US" sz="1400" smtClean="0">
                <a:solidFill>
                  <a:srgbClr val="75787B"/>
                </a:solidFill>
              </a:rPr>
              <a:pPr defTabSz="685800"/>
              <a:t>‹#›</a:t>
            </a:fld>
            <a:endParaRPr lang="en-US" sz="1400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3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3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5" y="412243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8" y="4122431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58892" y="206490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6" y="1219218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41459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142406" y="6415363"/>
            <a:ext cx="904569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3A5D2E96-09D4-684C-BDED-6024B7F4284C}" type="slidenum">
              <a:rPr lang="en-US" sz="1400" smtClean="0">
                <a:solidFill>
                  <a:srgbClr val="000000"/>
                </a:solidFill>
              </a:rPr>
              <a:pPr defTabSz="685800"/>
              <a:t>‹#›</a:t>
            </a:fld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6" y="6527444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US" dirty="0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8393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2065417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383880"/>
          </a:xfrm>
        </p:spPr>
        <p:txBody>
          <a:bodyPr>
            <a:noAutofit/>
          </a:bodyPr>
          <a:lstStyle>
            <a:lvl1pPr algn="r">
              <a:defRPr sz="1600" b="0" i="0">
                <a:latin typeface="Frutiger 45 Light"/>
                <a:cs typeface="Frutiger 45 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1" y="1475757"/>
            <a:ext cx="8880592" cy="5382244"/>
          </a:xfrm>
        </p:spPr>
        <p:txBody>
          <a:bodyPr/>
          <a:lstStyle>
            <a:lvl1pPr>
              <a:defRPr b="0" i="0">
                <a:latin typeface="Arial"/>
                <a:cs typeface="Arial"/>
              </a:defRPr>
            </a:lvl1pPr>
            <a:lvl2pPr>
              <a:defRPr b="0" i="0">
                <a:latin typeface="Arial"/>
                <a:cs typeface="Arial"/>
              </a:defRPr>
            </a:lvl2pPr>
            <a:lvl3pPr>
              <a:defRPr b="0" i="0">
                <a:latin typeface="Arial"/>
                <a:cs typeface="Arial"/>
              </a:defRPr>
            </a:lvl3pPr>
            <a:lvl4pPr>
              <a:defRPr b="0" i="0">
                <a:latin typeface="Arial"/>
                <a:cs typeface="Arial"/>
              </a:defRPr>
            </a:lvl4pPr>
            <a:lvl5pPr>
              <a:defRPr b="0" i="0">
                <a:latin typeface="Arial"/>
                <a:cs typeface="Arial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62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62"/>
            <a:ext cx="3860800" cy="365125"/>
          </a:xfrm>
          <a:prstGeom prst="rect">
            <a:avLst/>
          </a:prstGeom>
        </p:spPr>
        <p:txBody>
          <a:bodyPr/>
          <a:lstStyle/>
          <a:p>
            <a:pPr defTabSz="685800"/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76527" y="6356362"/>
            <a:ext cx="3442208" cy="365125"/>
          </a:xfrm>
          <a:prstGeom prst="rect">
            <a:avLst/>
          </a:prstGeom>
        </p:spPr>
        <p:txBody>
          <a:bodyPr/>
          <a:lstStyle/>
          <a:p>
            <a:pPr defTabSz="685800"/>
            <a:fld id="{532A614D-305D-C541-B322-846177CECA35}" type="slidenum">
              <a:rPr lang="en-US" sz="1400" smtClean="0">
                <a:solidFill>
                  <a:srgbClr val="000000"/>
                </a:solidFill>
              </a:rPr>
              <a:pPr defTabSz="685800"/>
              <a:t>‹#›</a:t>
            </a:fld>
            <a:endParaRPr lang="en-US" sz="1400">
              <a:solidFill>
                <a:srgbClr val="000000"/>
              </a:solidFill>
            </a:endParaRPr>
          </a:p>
        </p:txBody>
      </p:sp>
      <p:sp>
        <p:nvSpPr>
          <p:cNvPr id="21" name="Content Placeholder 2"/>
          <p:cNvSpPr>
            <a:spLocks noGrp="1"/>
          </p:cNvSpPr>
          <p:nvPr>
            <p:ph idx="13"/>
          </p:nvPr>
        </p:nvSpPr>
        <p:spPr>
          <a:xfrm>
            <a:off x="9407408" y="1600211"/>
            <a:ext cx="2502368" cy="4525963"/>
          </a:xfrm>
        </p:spPr>
        <p:txBody>
          <a:bodyPr>
            <a:normAutofit/>
          </a:bodyPr>
          <a:lstStyle>
            <a:lvl1pPr marL="0" indent="0">
              <a:buFont typeface="Arial"/>
              <a:buNone/>
              <a:defRPr sz="1500" b="0" i="0" baseline="0">
                <a:latin typeface="Arial"/>
                <a:cs typeface="Arial"/>
              </a:defRPr>
            </a:lvl1pPr>
            <a:lvl2pPr>
              <a:defRPr b="0" i="0">
                <a:latin typeface="Frutiger 45 Light"/>
                <a:cs typeface="Frutiger 45 Light"/>
              </a:defRPr>
            </a:lvl2pPr>
            <a:lvl3pPr>
              <a:defRPr b="0" i="0">
                <a:latin typeface="Frutiger 45 Light"/>
                <a:cs typeface="Frutiger 45 Light"/>
              </a:defRPr>
            </a:lvl3pPr>
            <a:lvl4pPr>
              <a:defRPr b="0" i="0">
                <a:latin typeface="Frutiger 45 Light"/>
                <a:cs typeface="Frutiger 45 Light"/>
              </a:defRPr>
            </a:lvl4pPr>
            <a:lvl5pPr>
              <a:defRPr b="0" i="0">
                <a:latin typeface="Frutiger 45 Light"/>
                <a:cs typeface="Frutiger 45 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Rectangle 4"/>
          <p:cNvSpPr>
            <a:spLocks noChangeArrowheads="1"/>
          </p:cNvSpPr>
          <p:nvPr/>
        </p:nvSpPr>
        <p:spPr bwMode="auto">
          <a:xfrm>
            <a:off x="0" y="-4669"/>
            <a:ext cx="12192000" cy="871765"/>
          </a:xfrm>
          <a:prstGeom prst="rect">
            <a:avLst/>
          </a:prstGeom>
          <a:solidFill>
            <a:srgbClr val="007DC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pPr algn="r" defTabSz="685800"/>
            <a:endParaRPr lang="en-US" sz="320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3" name="Picture 5" descr="MetLife_wRegMark_0K-01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6350" y="59981"/>
            <a:ext cx="2025652" cy="783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2" descr="82565869401096422374V1Fmetlifelogo_white"/>
          <p:cNvPicPr preferRelativeResize="0"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8"/>
            <a:ext cx="12192000" cy="8679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8" descr="82565869401096422374V1Fmetlifelogo_white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70327" y="166653"/>
            <a:ext cx="1730228" cy="478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Content Placeholder 2"/>
          <p:cNvSpPr>
            <a:spLocks noGrp="1"/>
          </p:cNvSpPr>
          <p:nvPr>
            <p:ph idx="15"/>
          </p:nvPr>
        </p:nvSpPr>
        <p:spPr>
          <a:xfrm>
            <a:off x="244597" y="194365"/>
            <a:ext cx="3667355" cy="378816"/>
          </a:xfrm>
        </p:spPr>
        <p:txBody>
          <a:bodyPr>
            <a:noAutofit/>
          </a:bodyPr>
          <a:lstStyle>
            <a:lvl1pPr marL="0" indent="0" algn="l">
              <a:buFont typeface="Arial"/>
              <a:buNone/>
              <a:defRPr sz="1500" b="1" i="0" cap="all" baseline="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 b="0" i="0">
                <a:latin typeface="Frutiger 45 Light"/>
                <a:cs typeface="Frutiger 45 Light"/>
              </a:defRPr>
            </a:lvl2pPr>
            <a:lvl3pPr>
              <a:defRPr b="0" i="0">
                <a:latin typeface="Frutiger 45 Light"/>
                <a:cs typeface="Frutiger 45 Light"/>
              </a:defRPr>
            </a:lvl3pPr>
            <a:lvl4pPr>
              <a:defRPr b="0" i="0">
                <a:latin typeface="Frutiger 45 Light"/>
                <a:cs typeface="Frutiger 45 Light"/>
              </a:defRPr>
            </a:lvl4pPr>
            <a:lvl5pPr>
              <a:defRPr b="0" i="0">
                <a:latin typeface="Frutiger 45 Light"/>
                <a:cs typeface="Frutiger 45 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idx="14"/>
          </p:nvPr>
        </p:nvSpPr>
        <p:spPr>
          <a:xfrm>
            <a:off x="3051471" y="189350"/>
            <a:ext cx="3732645" cy="383843"/>
          </a:xfrm>
        </p:spPr>
        <p:txBody>
          <a:bodyPr>
            <a:noAutofit/>
          </a:bodyPr>
          <a:lstStyle>
            <a:lvl1pPr marL="0" indent="0">
              <a:buFont typeface="Arial"/>
              <a:buNone/>
              <a:defRPr sz="1200" b="0" i="1" baseline="0">
                <a:solidFill>
                  <a:schemeClr val="bg1">
                    <a:lumMod val="85000"/>
                  </a:schemeClr>
                </a:solidFill>
                <a:latin typeface="Arial"/>
                <a:cs typeface="Arial"/>
              </a:defRPr>
            </a:lvl1pPr>
            <a:lvl2pPr>
              <a:defRPr b="0" i="0">
                <a:latin typeface="Frutiger 45 Light"/>
                <a:cs typeface="Frutiger 45 Light"/>
              </a:defRPr>
            </a:lvl2pPr>
            <a:lvl3pPr>
              <a:defRPr b="0" i="0">
                <a:latin typeface="Frutiger 45 Light"/>
                <a:cs typeface="Frutiger 45 Light"/>
              </a:defRPr>
            </a:lvl3pPr>
            <a:lvl4pPr>
              <a:defRPr b="0" i="0">
                <a:latin typeface="Frutiger 45 Light"/>
                <a:cs typeface="Frutiger 45 Light"/>
              </a:defRPr>
            </a:lvl4pPr>
            <a:lvl5pPr>
              <a:defRPr b="0" i="0">
                <a:latin typeface="Frutiger 45 Light"/>
                <a:cs typeface="Frutiger 45 Light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222706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1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37600" y="6267452"/>
            <a:ext cx="2844800" cy="476251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defTabSz="685800">
              <a:defRPr/>
            </a:pPr>
            <a:fld id="{6DF1761C-F60B-4D0A-8F8E-394F4E2C14A4}" type="slidenum">
              <a:rPr lang="en-US" sz="1400" smtClean="0">
                <a:solidFill>
                  <a:srgbClr val="000000"/>
                </a:solidFill>
              </a:rPr>
              <a:pPr defTabSz="685800">
                <a:defRPr/>
              </a:pPr>
              <a:t>‹#›</a:t>
            </a:fld>
            <a:endParaRPr lang="en-US" sz="14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363041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5F3430-0584-DB4D-BDAF-AB7A448526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CE2F32-676F-154D-B7FE-0E4DA14F23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7063" indent="0" algn="ctr">
              <a:buNone/>
              <a:defRPr sz="1999"/>
            </a:lvl2pPr>
            <a:lvl3pPr marL="914126" indent="0" algn="ctr">
              <a:buNone/>
              <a:defRPr sz="1799"/>
            </a:lvl3pPr>
            <a:lvl4pPr marL="1371189" indent="0" algn="ctr">
              <a:buNone/>
              <a:defRPr sz="1600"/>
            </a:lvl4pPr>
            <a:lvl5pPr marL="1828251" indent="0" algn="ctr">
              <a:buNone/>
              <a:defRPr sz="1600"/>
            </a:lvl5pPr>
            <a:lvl6pPr marL="2285314" indent="0" algn="ctr">
              <a:buNone/>
              <a:defRPr sz="1600"/>
            </a:lvl6pPr>
            <a:lvl7pPr marL="2742377" indent="0" algn="ctr">
              <a:buNone/>
              <a:defRPr sz="1600"/>
            </a:lvl7pPr>
            <a:lvl8pPr marL="3199440" indent="0" algn="ctr">
              <a:buNone/>
              <a:defRPr sz="1600"/>
            </a:lvl8pPr>
            <a:lvl9pPr marL="365650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1E930E4-EA2F-7B46-BE31-E73BBBD025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C0236-D7EE-8F40-BF50-19D2D57F568A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BCE08E-5AB4-A149-9F5A-28D18D4852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0438D1-E58C-044E-8257-3736B63E44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ACFFE-078D-5E49-84CE-D773E8BDC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44611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2948AC-A18E-9047-A8FF-8E0CCEEAB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94682A-52F3-3847-9D33-6006773987D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B16D6C-A131-A54A-86DB-FF079C1A2B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C0236-D7EE-8F40-BF50-19D2D57F568A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41793-5C48-2841-BB61-1519940F0E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599A28-DA58-094E-85BF-74A99BB496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ACFFE-078D-5E49-84CE-D773E8BDC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065366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9322FA-C8C6-6540-B59A-E6922B8CC1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599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200F31-8888-5B49-BCC8-8D90F08ABE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7063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126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1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25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3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50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445D14-93FE-694E-AACB-CF06BB90FF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C0236-D7EE-8F40-BF50-19D2D57F568A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C54AFC0-60CA-9941-99EE-BE38DD3139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4A0295-670A-6C49-A0B8-DD4705B66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ACFFE-078D-5E49-84CE-D773E8BDC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7447104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64E9C8-B432-C341-9D98-83178DE155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9C6D5F-D0BB-264F-87AF-2EA857DECD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6D65C83-1318-3A45-A0E0-5EBDDCC04F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346F22-464B-0049-B45C-E5677201B9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C0236-D7EE-8F40-BF50-19D2D57F568A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DCB397B-FC5C-344C-9D11-ACA3A39ECF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E6E767-B6D5-9E42-B65D-3AB86A294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ACFFE-078D-5E49-84CE-D773E8BDC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8649289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813255-B427-6146-92BC-773AFF9D19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6BC41C-B32C-8244-BB5D-B0962F326B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D60B61-682B-CE4A-8C86-2F876D65BCC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E897765-ADD0-824A-94CE-564C34871E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7063" indent="0">
              <a:buNone/>
              <a:defRPr sz="1999" b="1"/>
            </a:lvl2pPr>
            <a:lvl3pPr marL="914126" indent="0">
              <a:buNone/>
              <a:defRPr sz="1799" b="1"/>
            </a:lvl3pPr>
            <a:lvl4pPr marL="1371189" indent="0">
              <a:buNone/>
              <a:defRPr sz="1600" b="1"/>
            </a:lvl4pPr>
            <a:lvl5pPr marL="1828251" indent="0">
              <a:buNone/>
              <a:defRPr sz="1600" b="1"/>
            </a:lvl5pPr>
            <a:lvl6pPr marL="2285314" indent="0">
              <a:buNone/>
              <a:defRPr sz="1600" b="1"/>
            </a:lvl6pPr>
            <a:lvl7pPr marL="2742377" indent="0">
              <a:buNone/>
              <a:defRPr sz="1600" b="1"/>
            </a:lvl7pPr>
            <a:lvl8pPr marL="3199440" indent="0">
              <a:buNone/>
              <a:defRPr sz="1600" b="1"/>
            </a:lvl8pPr>
            <a:lvl9pPr marL="3656503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95CB031-4B89-2247-8998-3ADFBF85028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4ACF9EA-F43F-8745-8D9D-B6077A5E83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C0236-D7EE-8F40-BF50-19D2D57F568A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53DE75F-8B9B-8F40-B46E-1EF722938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294F06E-367F-554F-8C17-EBE9F8EE9E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ACFFE-078D-5E49-84CE-D773E8BDC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4090785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C7AA36-06D5-CD43-B880-D6F2EA226A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1ADF287-854C-3741-BD56-435598BA9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C0236-D7EE-8F40-BF50-19D2D57F568A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DC1478-11DF-134B-B7ED-FF499EDFB2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CE8372-A8EA-B34A-8F04-C480202A75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ACFFE-078D-5E49-84CE-D773E8BDC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55466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3A1867-C6CA-E341-8305-43921A5F7E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C0236-D7EE-8F40-BF50-19D2D57F568A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F7F42FE-5364-A149-9288-FA7EFB91C8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114FF60-1090-6B48-B49E-5EAFB7646D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ACFFE-078D-5E49-84CE-D773E8BDC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606008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A308A5-86BC-C14A-84FD-1082616D5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B2E9B1-C116-CC4D-8700-4631339F49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48156FF-8CC3-4446-9FC5-208142FED38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3EE11A-35BF-4F4F-9485-C7919117CB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C0236-D7EE-8F40-BF50-19D2D57F568A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15FBA47-7B62-BB4E-A98D-1943C6A6F7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AAC958E-0328-DE4F-B897-E43D80084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ACFFE-078D-5E49-84CE-D773E8BDC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4936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1036589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75AAAF5-2D30-42E8-B9E1-A7E9CDBA0143}"/>
              </a:ext>
            </a:extLst>
          </p:cNvPr>
          <p:cNvGrpSpPr/>
          <p:nvPr userDrawn="1"/>
        </p:nvGrpSpPr>
        <p:grpSpPr>
          <a:xfrm>
            <a:off x="10362008" y="0"/>
            <a:ext cx="1829993" cy="6217920"/>
            <a:chOff x="10362008" y="0"/>
            <a:chExt cx="1829993" cy="6217920"/>
          </a:xfrm>
        </p:grpSpPr>
        <p:sp>
          <p:nvSpPr>
            <p:cNvPr id="13" name="Rectangle 12"/>
            <p:cNvSpPr/>
            <p:nvPr/>
          </p:nvSpPr>
          <p:spPr>
            <a:xfrm>
              <a:off x="10362008" y="0"/>
              <a:ext cx="455731" cy="621792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b="0" i="0" dirty="0">
                <a:latin typeface="Arial" charset="0"/>
                <a:cs typeface="Arial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0818582" y="0"/>
              <a:ext cx="1373419" cy="6217920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b="0" i="0" dirty="0">
                <a:latin typeface="Arial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6179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8" name="Rectangle 7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9496889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D4739F-1B85-FE4D-859B-DBD9ACDE89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2A5C4E6-4763-F049-9282-D2245B52FB5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199"/>
            </a:lvl1pPr>
            <a:lvl2pPr marL="457063" indent="0">
              <a:buNone/>
              <a:defRPr sz="2799"/>
            </a:lvl2pPr>
            <a:lvl3pPr marL="914126" indent="0">
              <a:buNone/>
              <a:defRPr sz="2399"/>
            </a:lvl3pPr>
            <a:lvl4pPr marL="1371189" indent="0">
              <a:buNone/>
              <a:defRPr sz="1999"/>
            </a:lvl4pPr>
            <a:lvl5pPr marL="1828251" indent="0">
              <a:buNone/>
              <a:defRPr sz="1999"/>
            </a:lvl5pPr>
            <a:lvl6pPr marL="2285314" indent="0">
              <a:buNone/>
              <a:defRPr sz="1999"/>
            </a:lvl6pPr>
            <a:lvl7pPr marL="2742377" indent="0">
              <a:buNone/>
              <a:defRPr sz="1999"/>
            </a:lvl7pPr>
            <a:lvl8pPr marL="3199440" indent="0">
              <a:buNone/>
              <a:defRPr sz="1999"/>
            </a:lvl8pPr>
            <a:lvl9pPr marL="3656503" indent="0">
              <a:buNone/>
              <a:defRPr sz="1999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4C2AC53-A749-3D41-98DA-ED11A659B08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7139DD5-FB1A-434D-AFB2-86114F134E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C0236-D7EE-8F40-BF50-19D2D57F568A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B3CA531-73E2-2D48-A8F9-E657AA6491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C0A232D-B24C-F64F-A86C-993E21FE8A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ACFFE-078D-5E49-84CE-D773E8BDC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68523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CF99B4-8199-D84B-BCF9-854FDA954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32E70E-B619-694D-91C6-A59700CF8C4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DE3230-5B22-7543-B711-6692CBD81A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C0236-D7EE-8F40-BF50-19D2D57F568A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F49BDB1-4550-F341-A354-9AFCA276F1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07B3F8-D53C-884F-8F0C-24C4C588A4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ACFFE-078D-5E49-84CE-D773E8BDC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792054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2B8E98A-A92A-154F-A2FA-AF924B03BD2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52A48E0-B960-F647-BC27-F395F70AA5F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61447C-5C79-7148-ADC1-D9DB39B1D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DC0236-D7EE-8F40-BF50-19D2D57F568A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7C00AA5-395D-B64B-9485-A51948A06F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1124AC-8576-2A4F-95CA-50EEE6DC44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ACFFE-078D-5E49-84CE-D773E8BDC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033989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4069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3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360035" y="0"/>
            <a:ext cx="455732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815768" y="0"/>
            <a:ext cx="1376233" cy="6217920"/>
          </a:xfrm>
          <a:prstGeom prst="rect">
            <a:avLst/>
          </a:prstGeom>
          <a:solidFill>
            <a:srgbClr val="0727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2572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1" y="0"/>
            <a:ext cx="10365900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362008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818581" y="0"/>
            <a:ext cx="1373419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921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tx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80445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" y="0"/>
            <a:ext cx="103659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3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/>
        </p:nvSpPr>
        <p:spPr>
          <a:xfrm>
            <a:off x="10818581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1979404" y="6215045"/>
            <a:ext cx="1677192" cy="693755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7B66EEDC-C243-426E-A456-9DA641F1AC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319" y="6370650"/>
            <a:ext cx="1351935" cy="350236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9E29E641-48AC-4080-A1B2-F0575E3A1A1E}"/>
              </a:ext>
            </a:extLst>
          </p:cNvPr>
          <p:cNvCxnSpPr>
            <a:cxnSpLocks/>
          </p:cNvCxnSpPr>
          <p:nvPr/>
        </p:nvCxnSpPr>
        <p:spPr>
          <a:xfrm>
            <a:off x="1985551" y="6322514"/>
            <a:ext cx="0" cy="446509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0564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20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D0D8946D-F449-5F4C-804E-200176634BDF}"/>
              </a:ext>
            </a:extLst>
          </p:cNvPr>
          <p:cNvSpPr txBox="1">
            <a:spLocks/>
          </p:cNvSpPr>
          <p:nvPr/>
        </p:nvSpPr>
        <p:spPr>
          <a:xfrm>
            <a:off x="8924074" y="6418627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27EE6175-3C10-4349-90EA-276AA47F3390}"/>
              </a:ext>
            </a:extLst>
          </p:cNvPr>
          <p:cNvSpPr txBox="1">
            <a:spLocks/>
          </p:cNvSpPr>
          <p:nvPr/>
        </p:nvSpPr>
        <p:spPr>
          <a:xfrm>
            <a:off x="6027720" y="6418627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  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1DD6940-8E95-4AAE-82B3-456141AAD44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1979404" y="6215045"/>
            <a:ext cx="1677192" cy="6937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43735B43-CDDC-4F2F-8694-BC59C5D41DF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319" y="6370650"/>
            <a:ext cx="1351935" cy="350236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4ECCA26-1BCE-4F8F-B75E-2A8746A52F93}"/>
              </a:ext>
            </a:extLst>
          </p:cNvPr>
          <p:cNvCxnSpPr>
            <a:cxnSpLocks/>
          </p:cNvCxnSpPr>
          <p:nvPr/>
        </p:nvCxnSpPr>
        <p:spPr>
          <a:xfrm>
            <a:off x="1985551" y="6322514"/>
            <a:ext cx="0" cy="446509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1741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6889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208546327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9444909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/>
            </a:lvl3pPr>
            <a:lvl4pPr marL="398453" indent="-200020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86917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1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4523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1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2241924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1" y="1371601"/>
            <a:ext cx="3885929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54999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648690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148827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128237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21" y="457200"/>
            <a:ext cx="8409481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1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96134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128237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21" y="457200"/>
            <a:ext cx="8409481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1" y="1371601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03967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8765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 Slide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3" y="3078727"/>
            <a:ext cx="11247907" cy="700548"/>
          </a:xfrm>
        </p:spPr>
        <p:txBody>
          <a:bodyPr anchor="ctr">
            <a:normAutofit/>
          </a:bodyPr>
          <a:lstStyle>
            <a:lvl1pPr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35A689B4-828F-4AF7-8991-9B23F627710C}"/>
              </a:ext>
            </a:extLst>
          </p:cNvPr>
          <p:cNvSpPr txBox="1">
            <a:spLocks/>
          </p:cNvSpPr>
          <p:nvPr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FE21CD3E-5F2D-47FF-9348-AEF60D0E5867}"/>
              </a:ext>
            </a:extLst>
          </p:cNvPr>
          <p:cNvSpPr txBox="1">
            <a:spLocks/>
          </p:cNvSpPr>
          <p:nvPr/>
        </p:nvSpPr>
        <p:spPr>
          <a:xfrm>
            <a:off x="8924074" y="6418627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7A72FEA-B122-4DE3-BF97-D12B53B936A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1979404" y="6215045"/>
            <a:ext cx="1677192" cy="693755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9491E206-BC1A-42CB-964F-8D11FB4C2CD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319" y="6370650"/>
            <a:ext cx="1351935" cy="35023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F511269-7B02-4032-8A04-6787B2A1C6C2}"/>
              </a:ext>
            </a:extLst>
          </p:cNvPr>
          <p:cNvCxnSpPr>
            <a:cxnSpLocks/>
          </p:cNvCxnSpPr>
          <p:nvPr/>
        </p:nvCxnSpPr>
        <p:spPr>
          <a:xfrm>
            <a:off x="1985551" y="6322514"/>
            <a:ext cx="0" cy="446509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4751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Color Bar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183588360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Slide 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3" y="3078727"/>
            <a:ext cx="11247907" cy="700548"/>
          </a:xfrm>
        </p:spPr>
        <p:txBody>
          <a:bodyPr anchor="ctr">
            <a:normAutofit/>
          </a:bodyPr>
          <a:lstStyle>
            <a:lvl1pPr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C36FAEF5-B8A2-4962-9C69-C59D128A03E2}"/>
              </a:ext>
            </a:extLst>
          </p:cNvPr>
          <p:cNvSpPr txBox="1">
            <a:spLocks/>
          </p:cNvSpPr>
          <p:nvPr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4758E299-0C7E-44D8-AB48-E40E258586A3}"/>
              </a:ext>
            </a:extLst>
          </p:cNvPr>
          <p:cNvSpPr txBox="1">
            <a:spLocks/>
          </p:cNvSpPr>
          <p:nvPr/>
        </p:nvSpPr>
        <p:spPr>
          <a:xfrm>
            <a:off x="8924074" y="6418627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D36B825-46FA-4203-9FA9-6FA8BF289C5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1979404" y="6215045"/>
            <a:ext cx="1677192" cy="693755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C5D1C957-8CB9-4ED6-9448-87378435AD0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319" y="6370650"/>
            <a:ext cx="1351935" cy="35023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2ECC802-7EC9-4557-BB73-3E7167D59CDE}"/>
              </a:ext>
            </a:extLst>
          </p:cNvPr>
          <p:cNvCxnSpPr>
            <a:cxnSpLocks/>
          </p:cNvCxnSpPr>
          <p:nvPr/>
        </p:nvCxnSpPr>
        <p:spPr>
          <a:xfrm>
            <a:off x="1985551" y="6322514"/>
            <a:ext cx="0" cy="446509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7689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 Slide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3" y="3078727"/>
            <a:ext cx="11247907" cy="700548"/>
          </a:xfrm>
        </p:spPr>
        <p:txBody>
          <a:bodyPr anchor="ctr">
            <a:normAutofit/>
          </a:bodyPr>
          <a:lstStyle>
            <a:lvl1pPr>
              <a:defRPr sz="4399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AA0709DC-EB97-475E-83CF-52159EAEAC94}"/>
              </a:ext>
            </a:extLst>
          </p:cNvPr>
          <p:cNvSpPr txBox="1">
            <a:spLocks/>
          </p:cNvSpPr>
          <p:nvPr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FE884444-E767-4E9E-98BD-887F28FF8046}"/>
              </a:ext>
            </a:extLst>
          </p:cNvPr>
          <p:cNvSpPr txBox="1">
            <a:spLocks/>
          </p:cNvSpPr>
          <p:nvPr/>
        </p:nvSpPr>
        <p:spPr>
          <a:xfrm>
            <a:off x="8924074" y="6418627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047D67-CE26-4C77-BA7E-BF085880358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1979404" y="6215045"/>
            <a:ext cx="1677192" cy="693755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ADEAB2D1-B122-431F-9F08-96D663CB4C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319" y="6370650"/>
            <a:ext cx="1351935" cy="350236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F1F5B54-3DB0-43A3-886C-8C9AFBCEE90F}"/>
              </a:ext>
            </a:extLst>
          </p:cNvPr>
          <p:cNvCxnSpPr>
            <a:cxnSpLocks/>
          </p:cNvCxnSpPr>
          <p:nvPr/>
        </p:nvCxnSpPr>
        <p:spPr>
          <a:xfrm>
            <a:off x="1985551" y="6322514"/>
            <a:ext cx="0" cy="446509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8135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97638140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6844706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lIns="68566" tIns="34282" rIns="68566" bIns="34282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lIns="68566" tIns="34282" rIns="68566" bIns="34282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lIns="68566" tIns="34282" rIns="68566" bIns="34282"/>
          <a:lstStyle/>
          <a:p>
            <a:fld id="{3F80ED09-AC8B-0C45-832D-D2CBCD6D155E}" type="datetimeFigureOut">
              <a:rPr lang="en-US" smtClean="0"/>
              <a:t>5/23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lIns="68566" tIns="34282" rIns="68566" bIns="34282"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lIns="68566" tIns="34282" rIns="68566" bIns="34282"/>
          <a:lstStyle/>
          <a:p>
            <a:fld id="{A25228E2-F85A-9E45-B326-9FB29901B52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795368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 preferRelativeResize="0"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1140" y="947491"/>
            <a:ext cx="2314410" cy="159343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0" y="6444028"/>
            <a:ext cx="7927258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8" name="Rectangle 17"/>
          <p:cNvSpPr/>
          <p:nvPr/>
        </p:nvSpPr>
        <p:spPr>
          <a:xfrm>
            <a:off x="7927258" y="6444028"/>
            <a:ext cx="122411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9" name="Rectangle 18"/>
          <p:cNvSpPr/>
          <p:nvPr/>
        </p:nvSpPr>
        <p:spPr>
          <a:xfrm>
            <a:off x="9151374" y="6444028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20" name="Rectangle 19"/>
          <p:cNvSpPr/>
          <p:nvPr/>
        </p:nvSpPr>
        <p:spPr>
          <a:xfrm>
            <a:off x="11621915" y="6444028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644022" y="3704884"/>
            <a:ext cx="10861522" cy="774216"/>
          </a:xfrm>
        </p:spPr>
        <p:txBody>
          <a:bodyPr anchor="t">
            <a:noAutofit/>
          </a:bodyPr>
          <a:lstStyle>
            <a:lvl1pPr algn="l">
              <a:lnSpc>
                <a:spcPct val="100000"/>
              </a:lnSpc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8" y="4577048"/>
            <a:ext cx="6315584" cy="325152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1800" b="1" i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2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8" y="4953003"/>
            <a:ext cx="6315584" cy="298451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2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314947"/>
            <a:ext cx="6315584" cy="292107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1800"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17" name="Picture 16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9FF351F-98B1-4157-82C7-4D1D6C2F097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449" y="411416"/>
            <a:ext cx="3619219" cy="1054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684347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1" y="2761644"/>
            <a:ext cx="11247907" cy="603863"/>
          </a:xfrm>
        </p:spPr>
        <p:txBody>
          <a:bodyPr anchor="t">
            <a:normAutofit/>
          </a:bodyPr>
          <a:lstStyle>
            <a:lvl1pPr>
              <a:defRPr sz="3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6" y="3385488"/>
            <a:ext cx="1125185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>
            <a:off x="0" y="5"/>
            <a:ext cx="7927258" cy="4203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2" name="Rectangle 11"/>
          <p:cNvSpPr/>
          <p:nvPr/>
        </p:nvSpPr>
        <p:spPr>
          <a:xfrm>
            <a:off x="7927258" y="5"/>
            <a:ext cx="1224118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3" name="Rectangle 12"/>
          <p:cNvSpPr/>
          <p:nvPr/>
        </p:nvSpPr>
        <p:spPr>
          <a:xfrm>
            <a:off x="9151374" y="5"/>
            <a:ext cx="2470544" cy="4203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  <p:sp>
        <p:nvSpPr>
          <p:cNvPr id="14" name="Rectangle 13"/>
          <p:cNvSpPr/>
          <p:nvPr/>
        </p:nvSpPr>
        <p:spPr>
          <a:xfrm>
            <a:off x="11621915" y="5"/>
            <a:ext cx="570085" cy="42032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249324263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4" y="1869025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4500"/>
              </a:lnSpc>
              <a:defRPr sz="22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6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9417562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Slide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1" y="2761644"/>
            <a:ext cx="11247907" cy="603863"/>
          </a:xfrm>
        </p:spPr>
        <p:txBody>
          <a:bodyPr anchor="t"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6" y="3385488"/>
            <a:ext cx="11251852" cy="373719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7007EB3-049D-4A79-9F83-B6347F21D860}"/>
              </a:ext>
            </a:extLst>
          </p:cNvPr>
          <p:cNvSpPr/>
          <p:nvPr/>
        </p:nvSpPr>
        <p:spPr>
          <a:xfrm>
            <a:off x="277640" y="6415346"/>
            <a:ext cx="1482715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38C543E-47EE-4AB2-A15A-107700E59FE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247" y="6356597"/>
            <a:ext cx="1532809" cy="446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835012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" y="973194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2" y="998118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4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03807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63753578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" y="973194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2" y="998118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4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86985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4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2" y="998118"/>
            <a:ext cx="7862324" cy="3401253"/>
          </a:xfrm>
        </p:spPr>
        <p:txBody>
          <a:bodyPr anchor="t">
            <a:noAutofit/>
          </a:bodyPr>
          <a:lstStyle>
            <a:lvl1pPr algn="l">
              <a:defRPr sz="280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" y="973194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4339111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7" y="1696288"/>
            <a:ext cx="114422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6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92927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82" y="204836"/>
            <a:ext cx="11470980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1" y="707269"/>
            <a:ext cx="11478097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247649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83" y="206479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7" y="1977238"/>
            <a:ext cx="114422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2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399973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358883" y="206479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2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0082291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5" y="1032011"/>
            <a:ext cx="182590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5" y="1032011"/>
            <a:ext cx="1830178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3" y="1032011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5" y="1032011"/>
            <a:ext cx="1830178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4" name="Rectangle 3"/>
          <p:cNvSpPr/>
          <p:nvPr/>
        </p:nvSpPr>
        <p:spPr>
          <a:xfrm>
            <a:off x="366852" y="1434907"/>
            <a:ext cx="1830178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/>
          <p:cNvSpPr/>
          <p:nvPr/>
        </p:nvSpPr>
        <p:spPr>
          <a:xfrm>
            <a:off x="2578925" y="1434907"/>
            <a:ext cx="1830178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Rectangle 19"/>
          <p:cNvSpPr/>
          <p:nvPr/>
        </p:nvSpPr>
        <p:spPr>
          <a:xfrm>
            <a:off x="4791004" y="1433859"/>
            <a:ext cx="1830178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Rectangle 20"/>
          <p:cNvSpPr/>
          <p:nvPr/>
        </p:nvSpPr>
        <p:spPr>
          <a:xfrm>
            <a:off x="7003067" y="1434907"/>
            <a:ext cx="1830178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Rectangle 26"/>
          <p:cNvSpPr/>
          <p:nvPr/>
        </p:nvSpPr>
        <p:spPr>
          <a:xfrm>
            <a:off x="9215145" y="1434907"/>
            <a:ext cx="1830178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1004" y="1032011"/>
            <a:ext cx="1830178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7" y="1696288"/>
            <a:ext cx="114422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4487964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11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7" y="1032011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11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7" y="1032011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11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700"/>
              </a:lnSpc>
              <a:spcBef>
                <a:spcPts val="0"/>
              </a:spcBef>
              <a:defRPr sz="1100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7" y="1696288"/>
            <a:ext cx="114422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200"/>
            </a:lvl1pPr>
            <a:lvl2pPr>
              <a:lnSpc>
                <a:spcPct val="140000"/>
              </a:lnSpc>
              <a:defRPr sz="2200"/>
            </a:lvl2pPr>
            <a:lvl3pPr>
              <a:lnSpc>
                <a:spcPct val="140000"/>
              </a:lnSpc>
              <a:defRPr sz="2200"/>
            </a:lvl3pPr>
            <a:lvl4pPr>
              <a:lnSpc>
                <a:spcPct val="140000"/>
              </a:lnSpc>
              <a:defRPr sz="2200"/>
            </a:lvl4pPr>
            <a:lvl5pPr>
              <a:lnSpc>
                <a:spcPct val="140000"/>
              </a:lnSpc>
              <a:defRPr sz="2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11919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7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7"/>
            <a:ext cx="5181600" cy="4351339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4374291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9" y="1845871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507" y="1845871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51" y="1845871"/>
            <a:ext cx="3374012" cy="643331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0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8" y="2659255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1" y="2659255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659255"/>
            <a:ext cx="3374765" cy="3272367"/>
          </a:xfrm>
        </p:spPr>
        <p:txBody>
          <a:bodyPr>
            <a:noAutofit/>
          </a:bodyPr>
          <a:lstStyle>
            <a:lvl1pPr>
              <a:lnSpc>
                <a:spcPts val="2200"/>
              </a:lnSpc>
              <a:defRPr sz="1800"/>
            </a:lvl1pPr>
            <a:lvl2pPr>
              <a:lnSpc>
                <a:spcPts val="2200"/>
              </a:lnSpc>
              <a:defRPr sz="1800"/>
            </a:lvl2pPr>
            <a:lvl3pPr>
              <a:lnSpc>
                <a:spcPts val="2200"/>
              </a:lnSpc>
              <a:defRPr sz="1800"/>
            </a:lvl3pPr>
            <a:lvl4pPr>
              <a:lnSpc>
                <a:spcPts val="2200"/>
              </a:lnSpc>
              <a:defRPr sz="1800"/>
            </a:lvl4pPr>
            <a:lvl5pPr>
              <a:lnSpc>
                <a:spcPts val="2200"/>
              </a:lnSpc>
              <a:defRPr sz="18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24" hasCustomPrompt="1"/>
          </p:nvPr>
        </p:nvSpPr>
        <p:spPr>
          <a:xfrm>
            <a:off x="353132" y="857366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2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2799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9259257" cy="1136901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10946559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83" y="204836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57366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356418" y="1920550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5"/>
          </p:nvPr>
        </p:nvSpPr>
        <p:spPr>
          <a:xfrm>
            <a:off x="356418" y="3181452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356418" y="4466717"/>
            <a:ext cx="3590081" cy="575215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/>
          <p:cNvSpPr>
            <a:spLocks noGrp="1"/>
          </p:cNvSpPr>
          <p:nvPr>
            <p:ph sz="half" idx="17"/>
          </p:nvPr>
        </p:nvSpPr>
        <p:spPr>
          <a:xfrm>
            <a:off x="4090141" y="1857050"/>
            <a:ext cx="7255468" cy="862965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8"/>
          </p:nvPr>
        </p:nvSpPr>
        <p:spPr>
          <a:xfrm>
            <a:off x="4090141" y="3125663"/>
            <a:ext cx="7255468" cy="879612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/>
          <p:cNvSpPr>
            <a:spLocks noGrp="1"/>
          </p:cNvSpPr>
          <p:nvPr>
            <p:ph sz="half" idx="19"/>
          </p:nvPr>
        </p:nvSpPr>
        <p:spPr>
          <a:xfrm>
            <a:off x="4090141" y="4403211"/>
            <a:ext cx="7255468" cy="1045091"/>
          </a:xfrm>
        </p:spPr>
        <p:txBody>
          <a:bodyPr tIns="0" bIns="0" anchor="t" anchorCtr="0">
            <a:normAutofit/>
          </a:bodyPr>
          <a:lstStyle>
            <a:lvl1pPr>
              <a:defRPr sz="18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0060761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2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2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2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6" y="4122422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500" b="1"/>
            </a:lvl1pPr>
            <a:lvl2pPr marL="4763" indent="0" algn="ctr">
              <a:lnSpc>
                <a:spcPct val="100000"/>
              </a:lnSpc>
              <a:buNone/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8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58883" y="206479"/>
            <a:ext cx="9259257" cy="1012723"/>
          </a:xfrm>
        </p:spPr>
        <p:txBody>
          <a:bodyPr anchor="t">
            <a:noAutofit/>
          </a:bodyPr>
          <a:lstStyle/>
          <a:p>
            <a:r>
              <a:rPr lang="en-US" dirty="0"/>
              <a:t>Click to edit Master title style</a:t>
            </a:r>
            <a:br>
              <a:rPr lang="en-US" dirty="0"/>
            </a:br>
            <a:r>
              <a:rPr lang="en-US" dirty="0"/>
              <a:t>Click to edit Master title style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219202"/>
            <a:ext cx="9265003" cy="311037"/>
          </a:xfrm>
        </p:spPr>
        <p:txBody>
          <a:bodyPr lIns="91440" tIns="0" rIns="91440" bIns="0" anchor="b" anchorCtr="0">
            <a:noAutofit/>
          </a:bodyPr>
          <a:lstStyle>
            <a:lvl1pPr>
              <a:defRPr sz="18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7386229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t>‹#›</a:t>
            </a:fld>
            <a:endParaRPr lang="en-US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760354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309177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 Slide 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3" y="3316114"/>
            <a:ext cx="11247907" cy="700548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6" y="4028861"/>
            <a:ext cx="11251852" cy="479067"/>
          </a:xfrm>
        </p:spPr>
        <p:txBody>
          <a:bodyPr lIns="91440" tIns="0" rIns="91440" bIns="0" anchor="t" anchorCtr="0">
            <a:noAutofit/>
          </a:bodyPr>
          <a:lstStyle>
            <a:lvl1pPr>
              <a:defRPr sz="2400">
                <a:solidFill>
                  <a:schemeClr val="accent2">
                    <a:lumMod val="20000"/>
                    <a:lumOff val="80000"/>
                  </a:schemeClr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2" y="6415346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8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FD8EA8-9CDF-498D-B9DE-685E1F739E0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1898" y="603253"/>
            <a:ext cx="1500411" cy="2574551"/>
          </a:xfrm>
        </p:spPr>
        <p:txBody>
          <a:bodyPr wrap="none" lIns="0" tIns="0" rIns="0" bIns="0">
            <a:noAutofit/>
          </a:bodyPr>
          <a:lstStyle>
            <a:lvl1pPr>
              <a:lnSpc>
                <a:spcPct val="70000"/>
              </a:lnSpc>
              <a:defRPr sz="23900" b="1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099024B-1A0B-4857-AD77-7EDDD1678540}"/>
              </a:ext>
            </a:extLst>
          </p:cNvPr>
          <p:cNvSpPr/>
          <p:nvPr/>
        </p:nvSpPr>
        <p:spPr>
          <a:xfrm>
            <a:off x="277640" y="6415346"/>
            <a:ext cx="1482715" cy="36512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CACBDE3-8C3F-461B-AAF4-1158F817506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1247" y="6356597"/>
            <a:ext cx="1532809" cy="446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370918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" y="6260354"/>
            <a:ext cx="12191999" cy="5976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747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632014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7" name="Rectangle 26"/>
          <p:cNvSpPr/>
          <p:nvPr/>
        </p:nvSpPr>
        <p:spPr>
          <a:xfrm>
            <a:off x="7927258" y="632014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8" name="Rectangle 27"/>
          <p:cNvSpPr/>
          <p:nvPr/>
        </p:nvSpPr>
        <p:spPr>
          <a:xfrm>
            <a:off x="9151373" y="632014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9" name="Rectangle 28"/>
          <p:cNvSpPr/>
          <p:nvPr/>
        </p:nvSpPr>
        <p:spPr>
          <a:xfrm>
            <a:off x="11621916" y="632014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95335"/>
            <a:ext cx="6315584" cy="397933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477925"/>
            <a:ext cx="6315584" cy="389475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3" name="metlife_eng_tagline_cmyk.jpg" descr="/Users/ldorion/Desktop/PPT/Assets/metlife_eng_tagline_cmyk.jpg"/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3469" y="955726"/>
            <a:ext cx="2675467" cy="48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072613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37"/>
            <a:ext cx="11247907" cy="700548"/>
          </a:xfrm>
        </p:spPr>
        <p:txBody>
          <a:bodyPr anchor="t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5" y="3474381"/>
            <a:ext cx="11251852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0" y="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7" name="Rectangle 16"/>
          <p:cNvSpPr/>
          <p:nvPr/>
        </p:nvSpPr>
        <p:spPr>
          <a:xfrm>
            <a:off x="7927258" y="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8" name="Rectangle 17"/>
          <p:cNvSpPr/>
          <p:nvPr/>
        </p:nvSpPr>
        <p:spPr>
          <a:xfrm>
            <a:off x="9151375" y="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3" name="Rectangle 22"/>
          <p:cNvSpPr/>
          <p:nvPr/>
        </p:nvSpPr>
        <p:spPr>
          <a:xfrm>
            <a:off x="11621917" y="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8531405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3" y="186901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6000"/>
              </a:lnSpc>
              <a:defRPr sz="2933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1921514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857670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0884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9259257" cy="1136901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936284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8" name="Rectangle 7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214056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282672922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Color Bar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706378178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924156352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9259257" cy="1136901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895748562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9259257" cy="1136901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5500164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2" y="1032008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1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2" y="1032008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2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4" name="Rectangle 3"/>
          <p:cNvSpPr/>
          <p:nvPr/>
        </p:nvSpPr>
        <p:spPr>
          <a:xfrm>
            <a:off x="366848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" name="Rectangle 18"/>
          <p:cNvSpPr/>
          <p:nvPr/>
        </p:nvSpPr>
        <p:spPr>
          <a:xfrm>
            <a:off x="2578921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" name="Rectangle 19"/>
          <p:cNvSpPr/>
          <p:nvPr/>
        </p:nvSpPr>
        <p:spPr>
          <a:xfrm>
            <a:off x="4790994" y="1433851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1" name="Rectangle 20"/>
          <p:cNvSpPr/>
          <p:nvPr/>
        </p:nvSpPr>
        <p:spPr>
          <a:xfrm>
            <a:off x="7003067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Rectangle 26"/>
          <p:cNvSpPr/>
          <p:nvPr/>
        </p:nvSpPr>
        <p:spPr>
          <a:xfrm>
            <a:off x="9215142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0994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3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583551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08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08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2812935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0980487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6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495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37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8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0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7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3855501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2" y="1032008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1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2" y="1032008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2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4" name="Rectangle 3"/>
          <p:cNvSpPr/>
          <p:nvPr/>
        </p:nvSpPr>
        <p:spPr>
          <a:xfrm>
            <a:off x="366848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" name="Rectangle 18"/>
          <p:cNvSpPr/>
          <p:nvPr/>
        </p:nvSpPr>
        <p:spPr>
          <a:xfrm>
            <a:off x="2578921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" name="Rectangle 19"/>
          <p:cNvSpPr/>
          <p:nvPr/>
        </p:nvSpPr>
        <p:spPr>
          <a:xfrm>
            <a:off x="4790994" y="1433851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1" name="Rectangle 20"/>
          <p:cNvSpPr/>
          <p:nvPr/>
        </p:nvSpPr>
        <p:spPr>
          <a:xfrm>
            <a:off x="7003067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7" name="Rectangle 26"/>
          <p:cNvSpPr/>
          <p:nvPr/>
        </p:nvSpPr>
        <p:spPr>
          <a:xfrm>
            <a:off x="9215142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0994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3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559750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922909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356418" y="3344463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56418" y="4798501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886935" y="1838241"/>
            <a:ext cx="7255468" cy="1150620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8"/>
          </p:nvPr>
        </p:nvSpPr>
        <p:spPr>
          <a:xfrm>
            <a:off x="3886935" y="3270084"/>
            <a:ext cx="7255468" cy="1172816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9"/>
          </p:nvPr>
        </p:nvSpPr>
        <p:spPr>
          <a:xfrm>
            <a:off x="3886935" y="4713833"/>
            <a:ext cx="7255468" cy="1393455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7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272856309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7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9259257" cy="1136901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172292685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357252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Shape 32"/>
          <p:cNvSpPr>
            <a:spLocks noGrp="1"/>
          </p:cNvSpPr>
          <p:nvPr>
            <p:ph type="title"/>
          </p:nvPr>
        </p:nvSpPr>
        <p:spPr>
          <a:xfrm>
            <a:off x="793539" y="444501"/>
            <a:ext cx="10604923" cy="973857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3" name="Shape 33"/>
          <p:cNvSpPr>
            <a:spLocks noGrp="1"/>
          </p:cNvSpPr>
          <p:nvPr>
            <p:ph type="body" idx="1"/>
          </p:nvPr>
        </p:nvSpPr>
        <p:spPr>
          <a:xfrm>
            <a:off x="793541" y="1715813"/>
            <a:ext cx="10604921" cy="4256808"/>
          </a:xfrm>
          <a:prstGeom prst="rect">
            <a:avLst/>
          </a:prstGeom>
        </p:spPr>
        <p:txBody>
          <a:bodyPr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34" name="Shape 34"/>
          <p:cNvSpPr/>
          <p:nvPr/>
        </p:nvSpPr>
        <p:spPr>
          <a:xfrm>
            <a:off x="787189" y="6525137"/>
            <a:ext cx="901808" cy="73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>
              <a:lnSpc>
                <a:spcPct val="80000"/>
              </a:lnSpc>
              <a:defRPr sz="1200" spc="-12">
                <a:latin typeface="+mn-lt"/>
                <a:ea typeface="+mn-ea"/>
                <a:cs typeface="+mn-cs"/>
                <a:sym typeface="Averta for TBWA Regular"/>
              </a:defRPr>
            </a:lvl1pPr>
          </a:lstStyle>
          <a:p>
            <a:r>
              <a:rPr sz="600" dirty="0"/>
              <a:t>©201</a:t>
            </a:r>
            <a:r>
              <a:rPr lang="en-US" sz="600" dirty="0"/>
              <a:t>9</a:t>
            </a:r>
            <a:r>
              <a:rPr sz="600" dirty="0"/>
              <a:t> TBWA\</a:t>
            </a:r>
            <a:r>
              <a:rPr lang="en-US" sz="600" dirty="0"/>
              <a:t>RAAD</a:t>
            </a:r>
            <a:endParaRPr sz="600" dirty="0"/>
          </a:p>
        </p:txBody>
      </p:sp>
      <p:sp>
        <p:nvSpPr>
          <p:cNvPr id="35" name="Shape 35"/>
          <p:cNvSpPr/>
          <p:nvPr/>
        </p:nvSpPr>
        <p:spPr>
          <a:xfrm>
            <a:off x="2440906" y="6525136"/>
            <a:ext cx="2824369" cy="738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>
              <a:lnSpc>
                <a:spcPct val="80000"/>
              </a:lnSpc>
              <a:defRPr sz="1200" spc="-12">
                <a:latin typeface="+mn-lt"/>
                <a:ea typeface="+mn-ea"/>
                <a:cs typeface="+mn-cs"/>
                <a:sym typeface="Averta for TBWA Regular"/>
              </a:defRPr>
            </a:lvl1pPr>
          </a:lstStyle>
          <a:p>
            <a:r>
              <a:rPr sz="600"/>
              <a:t>Proprietary &amp; Confidential — Internal Agency Communications</a:t>
            </a:r>
          </a:p>
        </p:txBody>
      </p:sp>
      <p:sp>
        <p:nvSpPr>
          <p:cNvPr id="36" name="Shape 36"/>
          <p:cNvSpPr/>
          <p:nvPr/>
        </p:nvSpPr>
        <p:spPr>
          <a:xfrm>
            <a:off x="793538" y="6212022"/>
            <a:ext cx="1585979" cy="1723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anchor="b">
            <a:spAutoFit/>
          </a:bodyPr>
          <a:lstStyle>
            <a:lvl1pPr>
              <a:lnSpc>
                <a:spcPct val="80000"/>
              </a:lnSpc>
              <a:defRPr sz="1400" spc="-14"/>
            </a:lvl1pPr>
          </a:lstStyle>
          <a:p>
            <a:r>
              <a:rPr lang="en-US" sz="700" dirty="0"/>
              <a:t>MetLife Voluntary Benefits Review – </a:t>
            </a:r>
          </a:p>
          <a:p>
            <a:r>
              <a:rPr lang="en-US" sz="700" dirty="0"/>
              <a:t>Ian Carvalho &amp; Ashleigh Morgan</a:t>
            </a:r>
          </a:p>
        </p:txBody>
      </p:sp>
      <p:sp>
        <p:nvSpPr>
          <p:cNvPr id="37" name="Shape 37"/>
          <p:cNvSpPr/>
          <p:nvPr/>
        </p:nvSpPr>
        <p:spPr>
          <a:xfrm>
            <a:off x="787189" y="6398440"/>
            <a:ext cx="1505720" cy="861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>
              <a:lnSpc>
                <a:spcPct val="80000"/>
              </a:lnSpc>
              <a:defRPr sz="1400" spc="-14"/>
            </a:lvl1pPr>
          </a:lstStyle>
          <a:p>
            <a:r>
              <a:rPr lang="en-US" sz="700" dirty="0"/>
              <a:t>March </a:t>
            </a:r>
            <a:r>
              <a:rPr sz="700" dirty="0"/>
              <a:t>201</a:t>
            </a:r>
            <a:r>
              <a:rPr lang="en-US" sz="700" dirty="0"/>
              <a:t>9</a:t>
            </a:r>
            <a:endParaRPr sz="700" dirty="0"/>
          </a:p>
        </p:txBody>
      </p:sp>
      <p:sp>
        <p:nvSpPr>
          <p:cNvPr id="38" name="Shape 38"/>
          <p:cNvSpPr>
            <a:spLocks noGrp="1"/>
          </p:cNvSpPr>
          <p:nvPr>
            <p:ph type="sldNum" sz="quarter" idx="2"/>
          </p:nvPr>
        </p:nvSpPr>
        <p:spPr>
          <a:xfrm>
            <a:off x="6026264" y="6489044"/>
            <a:ext cx="133123" cy="146051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64224752"/>
      </p:ext>
    </p:extLst>
  </p:cSld>
  <p:clrMapOvr>
    <a:masterClrMapping/>
  </p:clrMapOvr>
  <p:transition spd="med"/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632014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27" name="Rectangle 26"/>
          <p:cNvSpPr/>
          <p:nvPr/>
        </p:nvSpPr>
        <p:spPr>
          <a:xfrm>
            <a:off x="7927258" y="632014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28" name="Rectangle 27"/>
          <p:cNvSpPr/>
          <p:nvPr/>
        </p:nvSpPr>
        <p:spPr>
          <a:xfrm>
            <a:off x="9151373" y="632014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29" name="Rectangle 28"/>
          <p:cNvSpPr/>
          <p:nvPr/>
        </p:nvSpPr>
        <p:spPr>
          <a:xfrm>
            <a:off x="11621916" y="632014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95335"/>
            <a:ext cx="6315584" cy="397933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477925"/>
            <a:ext cx="6315584" cy="389475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3" name="metlife_eng_tagline_cmyk.jpg" descr="/Users/ldorion/Desktop/PPT/Assets/metlife_eng_tagline_cmyk.jpg"/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3469" y="955726"/>
            <a:ext cx="2675467" cy="48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023964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37"/>
            <a:ext cx="11247907" cy="700548"/>
          </a:xfrm>
        </p:spPr>
        <p:txBody>
          <a:bodyPr anchor="t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5" y="3474381"/>
            <a:ext cx="11251852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0" y="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17" name="Rectangle 16"/>
          <p:cNvSpPr/>
          <p:nvPr/>
        </p:nvSpPr>
        <p:spPr>
          <a:xfrm>
            <a:off x="7927258" y="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18" name="Rectangle 17"/>
          <p:cNvSpPr/>
          <p:nvPr/>
        </p:nvSpPr>
        <p:spPr>
          <a:xfrm>
            <a:off x="9151375" y="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23" name="Rectangle 22"/>
          <p:cNvSpPr/>
          <p:nvPr/>
        </p:nvSpPr>
        <p:spPr>
          <a:xfrm>
            <a:off x="11621917" y="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</p:spTree>
    <p:extLst>
      <p:ext uri="{BB962C8B-B14F-4D97-AF65-F5344CB8AC3E}">
        <p14:creationId xmlns:p14="http://schemas.microsoft.com/office/powerpoint/2010/main" val="3332986647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3" y="186901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6000"/>
              </a:lnSpc>
              <a:defRPr sz="2933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3594612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4777266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108211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8" name="Rectangle 7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41791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08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08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733485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948204855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Color Bar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413096725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841313188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9259257" cy="1136901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4076310776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9259257" cy="1136901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083269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2" y="1032008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1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2" y="1032008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2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4" name="Rectangle 3"/>
          <p:cNvSpPr/>
          <p:nvPr/>
        </p:nvSpPr>
        <p:spPr>
          <a:xfrm>
            <a:off x="366848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9" name="Rectangle 18"/>
          <p:cNvSpPr/>
          <p:nvPr/>
        </p:nvSpPr>
        <p:spPr>
          <a:xfrm>
            <a:off x="2578921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0" name="Rectangle 19"/>
          <p:cNvSpPr/>
          <p:nvPr/>
        </p:nvSpPr>
        <p:spPr>
          <a:xfrm>
            <a:off x="4790994" y="1433851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1" name="Rectangle 20"/>
          <p:cNvSpPr/>
          <p:nvPr/>
        </p:nvSpPr>
        <p:spPr>
          <a:xfrm>
            <a:off x="7003067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7" name="Rectangle 26"/>
          <p:cNvSpPr/>
          <p:nvPr/>
        </p:nvSpPr>
        <p:spPr>
          <a:xfrm>
            <a:off x="9215142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0994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3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024827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08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08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 dirty="0"/>
              <a:t>Item 5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011025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695826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6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495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37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8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0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7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373420033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922909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356418" y="3344463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56418" y="4798501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886935" y="1838241"/>
            <a:ext cx="7255468" cy="1150620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8"/>
          </p:nvPr>
        </p:nvSpPr>
        <p:spPr>
          <a:xfrm>
            <a:off x="3886935" y="3270084"/>
            <a:ext cx="7255468" cy="1172816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9"/>
          </p:nvPr>
        </p:nvSpPr>
        <p:spPr>
          <a:xfrm>
            <a:off x="3886935" y="4713833"/>
            <a:ext cx="7255468" cy="1393455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7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</p:spTree>
    <p:extLst>
      <p:ext uri="{BB962C8B-B14F-4D97-AF65-F5344CB8AC3E}">
        <p14:creationId xmlns:p14="http://schemas.microsoft.com/office/powerpoint/2010/main" val="417662401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367545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7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9259257" cy="1136901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291477159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636832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360036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7712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2128D92-AA66-A049-A528-5B202C14A7D1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Gulf EB Strategy  |  11 Oct 2018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B09D78D-265C-6040-B686-E6DCD4807E7C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  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72544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1036589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362008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7307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1914922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/>
        </p:nvSpPr>
        <p:spPr>
          <a:xfrm>
            <a:off x="10360036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369F17-56A0-BB4D-AC17-65EDADA7B8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2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03658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40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olid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9454437" cy="2987675"/>
          </a:xfrm>
        </p:spPr>
        <p:txBody>
          <a:bodyPr anchor="ctr"/>
          <a:lstStyle>
            <a:lvl1pPr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1281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9454437" cy="2987675"/>
          </a:xfrm>
        </p:spPr>
        <p:txBody>
          <a:bodyPr anchor="ctr"/>
          <a:lstStyle>
            <a:lvl1pPr>
              <a:defRPr sz="4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2853674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6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495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37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8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0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7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171325777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D0D8946D-F449-5F4C-804E-200176634BDF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Gulf EB Strategy  |  11 Oct 2018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27EE6175-3C10-4349-90EA-276AA47F3390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  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293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668096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82132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4491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/>
            </a:lvl3pPr>
            <a:lvl4pPr marL="398463" indent="-200025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16899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230835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066412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BD4629-B2F8-DD40-968A-B631872631E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2624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posing Id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8354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99313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6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Opposing ideas </a:t>
            </a:r>
            <a:br>
              <a:rPr lang="en-US" dirty="0"/>
            </a:br>
            <a:r>
              <a:rPr lang="en-US" dirty="0"/>
              <a:t>with statements supported by graphics/imag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2pPr>
            <a:lvl3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3pPr>
            <a:lvl4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4pPr>
            <a:lvl5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5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Opposing ideas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with statements supported by graphics/images</a:t>
            </a:r>
          </a:p>
        </p:txBody>
      </p:sp>
    </p:spTree>
    <p:extLst>
      <p:ext uri="{BB962C8B-B14F-4D97-AF65-F5344CB8AC3E}">
        <p14:creationId xmlns:p14="http://schemas.microsoft.com/office/powerpoint/2010/main" val="2574791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593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047318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44315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688670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922909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356418" y="3344463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56418" y="4798501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886935" y="1838241"/>
            <a:ext cx="7255468" cy="1150620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8"/>
          </p:nvPr>
        </p:nvSpPr>
        <p:spPr>
          <a:xfrm>
            <a:off x="3886935" y="3270084"/>
            <a:ext cx="7255468" cy="1172816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9"/>
          </p:nvPr>
        </p:nvSpPr>
        <p:spPr>
          <a:xfrm>
            <a:off x="3886935" y="4713833"/>
            <a:ext cx="7255468" cy="1393455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7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6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424585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|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6094344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53751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 with 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87074" y="0"/>
            <a:ext cx="610492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24526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0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44391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62828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6233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" y="6260354"/>
            <a:ext cx="12191999" cy="5976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24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" y="6260354"/>
            <a:ext cx="12191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2269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7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9259257" cy="1136901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78456677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89911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888" tIns="0" rIns="121888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4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8"/>
            <a:ext cx="9265003" cy="396629"/>
          </a:xfrm>
        </p:spPr>
        <p:txBody>
          <a:bodyPr lIns="0" tIns="0" rIns="0" bIns="0" anchor="b" anchorCtr="0">
            <a:noAutofit/>
          </a:bodyPr>
          <a:lstStyle>
            <a:lvl1pPr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9336767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9680E-E002-4494-9640-AB8BE08184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DEAD7B7-7249-4B97-BA00-E958103677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635D71-27BD-4F6E-AF67-AE81CB72EA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9A988E-5136-49F6-B8EE-7193D602560F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1B38F0-9582-4A03-B657-97F6AE96EA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09A461-069D-4A03-9CC3-2F8AD6280C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2A4622-18A9-4DE8-9BD1-6CD4E678A0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5124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0360036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2223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2128D92-AA66-A049-A528-5B202C14A7D1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Gulf EB Strategy  |  4 Oct 2018</a:t>
            </a:r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B09D78D-265C-6040-B686-E6DCD4807E7C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  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1210797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0"/>
            <a:ext cx="1036589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0362008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2614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046045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/>
        </p:nvSpPr>
        <p:spPr>
          <a:xfrm>
            <a:off x="10360036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369F17-56A0-BB4D-AC17-65EDADA7B8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777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/>
        </p:nvSpPr>
        <p:spPr>
          <a:xfrm>
            <a:off x="10360036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369F17-56A0-BB4D-AC17-65EDADA7B8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1540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03658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945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Solid Colo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9454437" cy="2987675"/>
          </a:xfrm>
        </p:spPr>
        <p:txBody>
          <a:bodyPr anchor="ctr"/>
          <a:lstStyle>
            <a:lvl1pPr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051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9454437" cy="2987675"/>
          </a:xfrm>
        </p:spPr>
        <p:txBody>
          <a:bodyPr anchor="ctr"/>
          <a:lstStyle>
            <a:lvl1pPr>
              <a:defRPr sz="4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</p:spTree>
    <p:extLst>
      <p:ext uri="{BB962C8B-B14F-4D97-AF65-F5344CB8AC3E}">
        <p14:creationId xmlns:p14="http://schemas.microsoft.com/office/powerpoint/2010/main" val="3492537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D0D8946D-F449-5F4C-804E-200176634BDF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Gulf EB Strategy  |  4 Oct 2018</a:t>
            </a: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27EE6175-3C10-4349-90EA-276AA47F3390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  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510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52416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732464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4491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/>
            </a:lvl3pPr>
            <a:lvl4pPr marL="398463" indent="-200025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16168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03896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659354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FBD4629-B2F8-DD40-968A-B631872631E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539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0"/>
            <a:ext cx="103658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15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pposing Id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8354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99313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6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Opposing ideas </a:t>
            </a:r>
            <a:br>
              <a:rPr lang="en-US" dirty="0"/>
            </a:br>
            <a:r>
              <a:rPr lang="en-US" dirty="0"/>
              <a:t>with statements supported by graphics/imag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2pPr>
            <a:lvl3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3pPr>
            <a:lvl4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4pPr>
            <a:lvl5pPr>
              <a:defRPr b="1" i="0">
                <a:latin typeface="MetLife Circular" charset="0"/>
                <a:ea typeface="MetLife Circular" charset="0"/>
                <a:cs typeface="MetLife Circular" charset="0"/>
              </a:defRPr>
            </a:lvl5pPr>
          </a:lstStyle>
          <a:p>
            <a:pPr algn="l"/>
            <a:r>
              <a:rPr lang="en-US" dirty="0">
                <a:solidFill>
                  <a:schemeClr val="tx1"/>
                </a:solidFill>
              </a:rPr>
              <a:t>Opposing ideas </a:t>
            </a:r>
            <a:br>
              <a:rPr lang="en-US" dirty="0">
                <a:solidFill>
                  <a:schemeClr val="tx1"/>
                </a:solidFill>
              </a:rPr>
            </a:br>
            <a:r>
              <a:rPr lang="en-US" dirty="0">
                <a:solidFill>
                  <a:schemeClr val="tx1"/>
                </a:solidFill>
              </a:rPr>
              <a:t>with statements supported by graphics/images</a:t>
            </a:r>
          </a:p>
        </p:txBody>
      </p:sp>
    </p:spTree>
    <p:extLst>
      <p:ext uri="{BB962C8B-B14F-4D97-AF65-F5344CB8AC3E}">
        <p14:creationId xmlns:p14="http://schemas.microsoft.com/office/powerpoint/2010/main" val="3003153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593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9337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962751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|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6094344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53751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 with Image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87074" y="0"/>
            <a:ext cx="610492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61054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0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30270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 dirty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57417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3504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" y="6260354"/>
            <a:ext cx="12191999" cy="5976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1865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" y="6260354"/>
            <a:ext cx="12191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1993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600" r="9369" b="25266"/>
          <a:stretch>
            <a:fillRect/>
          </a:stretch>
        </p:blipFill>
        <p:spPr bwMode="auto">
          <a:xfrm>
            <a:off x="719667" y="730251"/>
            <a:ext cx="2933700" cy="692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600" r="9369" b="25266"/>
          <a:stretch>
            <a:fillRect/>
          </a:stretch>
        </p:blipFill>
        <p:spPr bwMode="auto">
          <a:xfrm>
            <a:off x="719667" y="730251"/>
            <a:ext cx="2933700" cy="6921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7"/>
          <p:cNvSpPr/>
          <p:nvPr/>
        </p:nvSpPr>
        <p:spPr>
          <a:xfrm>
            <a:off x="0" y="6320367"/>
            <a:ext cx="7926917" cy="5609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926918" y="6320367"/>
            <a:ext cx="1223433" cy="5609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9150351" y="6320367"/>
            <a:ext cx="2472267" cy="5609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1622618" y="6320367"/>
            <a:ext cx="569383" cy="5609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pic>
        <p:nvPicPr>
          <p:cNvPr id="12" name="metlife_eng_tagline_cmyk.jpg" descr="/Users/ldorion/Desktop/PPT/Assets/metlife_eng_tagline_cmyk.jpg"/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2984" y="956734"/>
            <a:ext cx="2675467" cy="486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/>
          </p:nvPr>
        </p:nvSpPr>
        <p:spPr>
          <a:xfrm>
            <a:off x="644017" y="4995335"/>
            <a:ext cx="6315584" cy="397933"/>
          </a:xfrm>
        </p:spPr>
        <p:txBody>
          <a:bodyPr tIns="0" bIns="0" anchor="ctr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/>
          </p:nvPr>
        </p:nvSpPr>
        <p:spPr>
          <a:xfrm>
            <a:off x="644016" y="5477925"/>
            <a:ext cx="6315584" cy="389475"/>
          </a:xfrm>
        </p:spPr>
        <p:txBody>
          <a:bodyPr tIns="0" bIns="0" anchor="ctr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70043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 dirty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 dirty="0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D0D8946D-F449-5F4C-804E-200176634BDF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27EE6175-3C10-4349-90EA-276AA47F3390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Presentation Title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247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7926917" cy="5609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926918" y="0"/>
            <a:ext cx="1223433" cy="5609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9150351" y="0"/>
            <a:ext cx="2472267" cy="5609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1622618" y="0"/>
            <a:ext cx="569383" cy="5609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37"/>
            <a:ext cx="11247907" cy="700548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70065" y="3474381"/>
            <a:ext cx="11251852" cy="479067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008642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59833" y="186901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6000"/>
              </a:lnSpc>
              <a:defRPr sz="2933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749809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667"/>
            <a:ext cx="850900" cy="34247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973667"/>
            <a:ext cx="850900" cy="342476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43950" y="998116"/>
            <a:ext cx="7862324" cy="3401253"/>
          </a:xfrm>
        </p:spPr>
        <p:txBody>
          <a:bodyPr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73428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667"/>
            <a:ext cx="850900" cy="34247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973667"/>
            <a:ext cx="850900" cy="34247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043950" y="998116"/>
            <a:ext cx="7862324" cy="3401253"/>
          </a:xfrm>
        </p:spPr>
        <p:txBody>
          <a:bodyPr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9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0349201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667"/>
            <a:ext cx="850900" cy="342476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1" y="973667"/>
            <a:ext cx="850900" cy="342476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3950" y="998116"/>
            <a:ext cx="7862324" cy="3401253"/>
          </a:xfrm>
        </p:spPr>
        <p:txBody>
          <a:bodyPr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8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85774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9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7762049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Color Bar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6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9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020989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7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340968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58876" y="206478"/>
            <a:ext cx="9259257" cy="1136901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9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87732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6478"/>
            <a:ext cx="9259257" cy="1136901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1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7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25852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69701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366185" y="1435100"/>
            <a:ext cx="1830916" cy="613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578100" y="1435100"/>
            <a:ext cx="1830917" cy="613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790018" y="1432985"/>
            <a:ext cx="1830916" cy="613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004051" y="1435100"/>
            <a:ext cx="1828800" cy="613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9215967" y="1435100"/>
            <a:ext cx="1828800" cy="613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371122" y="1032008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2578921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7024012" y="1032008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9215142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/>
          </p:nvPr>
        </p:nvSpPr>
        <p:spPr>
          <a:xfrm>
            <a:off x="4790994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Footer Placeholder 1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18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721415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292601" y="1020233"/>
            <a:ext cx="1858433" cy="414867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359834" y="1032008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/>
          </p:nvPr>
        </p:nvSpPr>
        <p:spPr>
          <a:xfrm>
            <a:off x="232423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/>
          </p:nvPr>
        </p:nvSpPr>
        <p:spPr>
          <a:xfrm>
            <a:off x="4284951" y="1032008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25987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/>
          </p:nvPr>
        </p:nvSpPr>
        <p:spPr>
          <a:xfrm>
            <a:off x="8227695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14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614301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1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8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842680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6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495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37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8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0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7487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24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13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35657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922909"/>
            <a:ext cx="3590081" cy="766952"/>
          </a:xfrm>
        </p:spPr>
        <p:txBody>
          <a:bodyPr tIns="0" bIns="0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356418" y="3344463"/>
            <a:ext cx="3590081" cy="766952"/>
          </a:xfrm>
        </p:spPr>
        <p:txBody>
          <a:bodyPr tIns="0" bIns="0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56418" y="4798501"/>
            <a:ext cx="3590081" cy="766952"/>
          </a:xfrm>
        </p:spPr>
        <p:txBody>
          <a:bodyPr tIns="0" bIns="0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886935" y="1838241"/>
            <a:ext cx="7255468" cy="1150620"/>
          </a:xfrm>
        </p:spPr>
        <p:txBody>
          <a:bodyPr tIns="0" bIns="0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8"/>
          </p:nvPr>
        </p:nvSpPr>
        <p:spPr>
          <a:xfrm>
            <a:off x="3886935" y="3270084"/>
            <a:ext cx="7255468" cy="1172816"/>
          </a:xfrm>
        </p:spPr>
        <p:txBody>
          <a:bodyPr tIns="0" bIns="0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9"/>
          </p:nvPr>
        </p:nvSpPr>
        <p:spPr>
          <a:xfrm>
            <a:off x="3886935" y="4713833"/>
            <a:ext cx="7255468" cy="1393455"/>
          </a:xfrm>
        </p:spPr>
        <p:txBody>
          <a:bodyPr tIns="0" bIns="0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7487" y="872067"/>
            <a:ext cx="9265003" cy="396629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Footer Placeholder 11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18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502348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2"/>
          <p:cNvSpPr txBox="1">
            <a:spLocks/>
          </p:cNvSpPr>
          <p:nvPr/>
        </p:nvSpPr>
        <p:spPr>
          <a:xfrm>
            <a:off x="8466667" y="101601"/>
            <a:ext cx="3725333" cy="207433"/>
          </a:xfrm>
          <a:prstGeom prst="rect">
            <a:avLst/>
          </a:prstGeom>
        </p:spPr>
        <p:txBody>
          <a:bodyPr tIns="0" bIns="0"/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 fontAlgn="auto">
              <a:spcAft>
                <a:spcPts val="0"/>
              </a:spcAft>
              <a:defRPr/>
            </a:pP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rgbClr val="75787B">
                    <a:lumMod val="60000"/>
                    <a:lumOff val="40000"/>
                  </a:srgb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58876" y="206478"/>
            <a:ext cx="9259257" cy="1136901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algn="l">
              <a:defRPr sz="800">
                <a:solidFill>
                  <a:srgbClr val="0061A0"/>
                </a:solidFill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16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261605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11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4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51" y="6252634"/>
            <a:ext cx="1557867" cy="60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633897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>
              <a:defRPr sz="2267">
                <a:solidFill>
                  <a:schemeClr val="bg2"/>
                </a:solidFill>
              </a:defRPr>
            </a:lvl1pPr>
            <a:lvl2pPr>
              <a:defRPr sz="2267">
                <a:solidFill>
                  <a:schemeClr val="bg2"/>
                </a:solidFill>
              </a:defRPr>
            </a:lvl2pPr>
            <a:lvl3pPr>
              <a:defRPr sz="2267">
                <a:solidFill>
                  <a:schemeClr val="bg2"/>
                </a:solidFill>
              </a:defRPr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53011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1" y="0"/>
            <a:ext cx="103659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 dirty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3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 dirty="0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 dirty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/>
        </p:nvSpPr>
        <p:spPr>
          <a:xfrm>
            <a:off x="10818581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 dirty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339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5EA711-DCE9-B94F-BB0A-4D33B73E3C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07E90B-5CD4-A040-AFD8-BB8BBF4911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88442F-D830-7247-BA5F-19F71E2036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E75967-047A-744A-8877-3C88FA8E5CF9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8ACF67-EA84-7C42-87EC-731E4FD93D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9C0926-8675-7E43-8DCF-DD4DFCCFF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00791C-21D8-5F45-AD99-637892E9912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30481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4491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/>
            </a:lvl3pPr>
            <a:lvl4pPr marL="398463" indent="-200025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 dirty="0"/>
              <a:t>Header</a:t>
            </a:r>
          </a:p>
          <a:p>
            <a:pPr lvl="1"/>
            <a:r>
              <a:rPr lang="en-US" dirty="0"/>
              <a:t>First Level 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59170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854" t="25599" r="9369" b="25265"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0" y="632014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7" name="Rectangle 26"/>
          <p:cNvSpPr/>
          <p:nvPr/>
        </p:nvSpPr>
        <p:spPr>
          <a:xfrm>
            <a:off x="7927258" y="632014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8" name="Rectangle 27"/>
          <p:cNvSpPr/>
          <p:nvPr/>
        </p:nvSpPr>
        <p:spPr>
          <a:xfrm>
            <a:off x="9151373" y="632014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9" name="Rectangle 28"/>
          <p:cNvSpPr/>
          <p:nvPr/>
        </p:nvSpPr>
        <p:spPr>
          <a:xfrm>
            <a:off x="11621916" y="632014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dirty="0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95335"/>
            <a:ext cx="6315584" cy="397933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 dirty="0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477925"/>
            <a:ext cx="6315584" cy="389475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 dirty="0"/>
              <a:t>Date</a:t>
            </a:r>
          </a:p>
        </p:txBody>
      </p:sp>
      <p:pic>
        <p:nvPicPr>
          <p:cNvPr id="3" name="metlife_eng_tagline_cmyk.jpg" descr="/Users/ldorion/Desktop/PPT/Assets/metlife_eng_tagline_cmyk.jpg"/>
          <p:cNvPicPr>
            <a:picLocks noChangeAspect="1"/>
          </p:cNvPicPr>
          <p:nvPr/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3469" y="955726"/>
            <a:ext cx="2675467" cy="486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75291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37"/>
            <a:ext cx="11247907" cy="700548"/>
          </a:xfrm>
        </p:spPr>
        <p:txBody>
          <a:bodyPr anchor="t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5" y="3474381"/>
            <a:ext cx="11251852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16" name="Rectangle 15"/>
          <p:cNvSpPr/>
          <p:nvPr/>
        </p:nvSpPr>
        <p:spPr>
          <a:xfrm>
            <a:off x="0" y="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7" name="Rectangle 16"/>
          <p:cNvSpPr/>
          <p:nvPr/>
        </p:nvSpPr>
        <p:spPr>
          <a:xfrm>
            <a:off x="7927258" y="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8" name="Rectangle 17"/>
          <p:cNvSpPr/>
          <p:nvPr/>
        </p:nvSpPr>
        <p:spPr>
          <a:xfrm>
            <a:off x="9151375" y="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3" name="Rectangle 22"/>
          <p:cNvSpPr/>
          <p:nvPr/>
        </p:nvSpPr>
        <p:spPr>
          <a:xfrm>
            <a:off x="11621917" y="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473918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 dirty="0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3" y="186901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6000"/>
              </a:lnSpc>
              <a:defRPr sz="2933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.</a:t>
            </a:r>
          </a:p>
          <a:p>
            <a:pPr lvl="0"/>
            <a:r>
              <a:rPr lang="en-US" dirty="0"/>
              <a:t>2.</a:t>
            </a:r>
          </a:p>
          <a:p>
            <a:pPr lvl="0"/>
            <a:r>
              <a:rPr lang="en-US" dirty="0"/>
              <a:t>3.</a:t>
            </a:r>
          </a:p>
          <a:p>
            <a:pPr lvl="0"/>
            <a:r>
              <a:rPr lang="en-US" dirty="0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033839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11127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9" name="Rectangle 8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925599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as a Divider slide, or place a quote or fact here. Use on it’s own or to introduce a new section of the presentation. (Georgia 28 </a:t>
            </a:r>
            <a:r>
              <a:rPr lang="en-US" dirty="0" err="1"/>
              <a:t>pt</a:t>
            </a:r>
            <a:r>
              <a:rPr lang="en-US" dirty="0"/>
              <a:t> Bold)</a:t>
            </a:r>
          </a:p>
        </p:txBody>
      </p:sp>
      <p:sp>
        <p:nvSpPr>
          <p:cNvPr id="8" name="Rectangle 7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7675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71530934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ue Color Bar Acc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73582744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7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41985372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2"/>
          <p:cNvSpPr txBox="1">
            <a:spLocks/>
          </p:cNvSpPr>
          <p:nvPr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 dirty="0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8"/>
            <a:ext cx="9259257" cy="1136901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47488" y="1359744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5796800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5.xml"/><Relationship Id="rId13" Type="http://schemas.openxmlformats.org/officeDocument/2006/relationships/slideLayout" Target="../slideLayouts/slideLayout200.xml"/><Relationship Id="rId18" Type="http://schemas.openxmlformats.org/officeDocument/2006/relationships/slideLayout" Target="../slideLayouts/slideLayout205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190.xml"/><Relationship Id="rId21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194.xml"/><Relationship Id="rId12" Type="http://schemas.openxmlformats.org/officeDocument/2006/relationships/slideLayout" Target="../slideLayouts/slideLayout199.xml"/><Relationship Id="rId17" Type="http://schemas.openxmlformats.org/officeDocument/2006/relationships/slideLayout" Target="../slideLayouts/slideLayout204.xml"/><Relationship Id="rId25" Type="http://schemas.openxmlformats.org/officeDocument/2006/relationships/theme" Target="../theme/theme10.xml"/><Relationship Id="rId2" Type="http://schemas.openxmlformats.org/officeDocument/2006/relationships/slideLayout" Target="../slideLayouts/slideLayout189.xml"/><Relationship Id="rId16" Type="http://schemas.openxmlformats.org/officeDocument/2006/relationships/slideLayout" Target="../slideLayouts/slideLayout203.xml"/><Relationship Id="rId20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188.xml"/><Relationship Id="rId6" Type="http://schemas.openxmlformats.org/officeDocument/2006/relationships/slideLayout" Target="../slideLayouts/slideLayout193.xml"/><Relationship Id="rId11" Type="http://schemas.openxmlformats.org/officeDocument/2006/relationships/slideLayout" Target="../slideLayouts/slideLayout198.xml"/><Relationship Id="rId24" Type="http://schemas.openxmlformats.org/officeDocument/2006/relationships/slideLayout" Target="../slideLayouts/slideLayout211.xml"/><Relationship Id="rId5" Type="http://schemas.openxmlformats.org/officeDocument/2006/relationships/slideLayout" Target="../slideLayouts/slideLayout192.xml"/><Relationship Id="rId15" Type="http://schemas.openxmlformats.org/officeDocument/2006/relationships/slideLayout" Target="../slideLayouts/slideLayout202.xml"/><Relationship Id="rId23" Type="http://schemas.openxmlformats.org/officeDocument/2006/relationships/slideLayout" Target="../slideLayouts/slideLayout210.xml"/><Relationship Id="rId10" Type="http://schemas.openxmlformats.org/officeDocument/2006/relationships/slideLayout" Target="../slideLayouts/slideLayout197.xml"/><Relationship Id="rId19" Type="http://schemas.openxmlformats.org/officeDocument/2006/relationships/slideLayout" Target="../slideLayouts/slideLayout206.xml"/><Relationship Id="rId4" Type="http://schemas.openxmlformats.org/officeDocument/2006/relationships/slideLayout" Target="../slideLayouts/slideLayout191.xml"/><Relationship Id="rId9" Type="http://schemas.openxmlformats.org/officeDocument/2006/relationships/slideLayout" Target="../slideLayouts/slideLayout196.xml"/><Relationship Id="rId14" Type="http://schemas.openxmlformats.org/officeDocument/2006/relationships/slideLayout" Target="../slideLayouts/slideLayout201.xml"/><Relationship Id="rId22" Type="http://schemas.openxmlformats.org/officeDocument/2006/relationships/slideLayout" Target="../slideLayouts/slideLayout20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9.xml"/><Relationship Id="rId13" Type="http://schemas.openxmlformats.org/officeDocument/2006/relationships/slideLayout" Target="../slideLayouts/slideLayout224.xml"/><Relationship Id="rId18" Type="http://schemas.openxmlformats.org/officeDocument/2006/relationships/slideLayout" Target="../slideLayouts/slideLayout229.xml"/><Relationship Id="rId26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214.xml"/><Relationship Id="rId21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18.xml"/><Relationship Id="rId12" Type="http://schemas.openxmlformats.org/officeDocument/2006/relationships/slideLayout" Target="../slideLayouts/slideLayout223.xml"/><Relationship Id="rId17" Type="http://schemas.openxmlformats.org/officeDocument/2006/relationships/slideLayout" Target="../slideLayouts/slideLayout228.xml"/><Relationship Id="rId25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13.xml"/><Relationship Id="rId16" Type="http://schemas.openxmlformats.org/officeDocument/2006/relationships/slideLayout" Target="../slideLayouts/slideLayout227.xml"/><Relationship Id="rId20" Type="http://schemas.openxmlformats.org/officeDocument/2006/relationships/slideLayout" Target="../slideLayouts/slideLayout231.xml"/><Relationship Id="rId29" Type="http://schemas.openxmlformats.org/officeDocument/2006/relationships/theme" Target="../theme/theme11.xml"/><Relationship Id="rId1" Type="http://schemas.openxmlformats.org/officeDocument/2006/relationships/slideLayout" Target="../slideLayouts/slideLayout212.xml"/><Relationship Id="rId6" Type="http://schemas.openxmlformats.org/officeDocument/2006/relationships/slideLayout" Target="../slideLayouts/slideLayout217.xml"/><Relationship Id="rId11" Type="http://schemas.openxmlformats.org/officeDocument/2006/relationships/slideLayout" Target="../slideLayouts/slideLayout222.xml"/><Relationship Id="rId24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16.xml"/><Relationship Id="rId15" Type="http://schemas.openxmlformats.org/officeDocument/2006/relationships/slideLayout" Target="../slideLayouts/slideLayout226.xml"/><Relationship Id="rId23" Type="http://schemas.openxmlformats.org/officeDocument/2006/relationships/slideLayout" Target="../slideLayouts/slideLayout234.xml"/><Relationship Id="rId28" Type="http://schemas.openxmlformats.org/officeDocument/2006/relationships/slideLayout" Target="../slideLayouts/slideLayout239.xml"/><Relationship Id="rId10" Type="http://schemas.openxmlformats.org/officeDocument/2006/relationships/slideLayout" Target="../slideLayouts/slideLayout221.xml"/><Relationship Id="rId19" Type="http://schemas.openxmlformats.org/officeDocument/2006/relationships/slideLayout" Target="../slideLayouts/slideLayout230.xml"/><Relationship Id="rId4" Type="http://schemas.openxmlformats.org/officeDocument/2006/relationships/slideLayout" Target="../slideLayouts/slideLayout215.xml"/><Relationship Id="rId9" Type="http://schemas.openxmlformats.org/officeDocument/2006/relationships/slideLayout" Target="../slideLayouts/slideLayout220.xml"/><Relationship Id="rId14" Type="http://schemas.openxmlformats.org/officeDocument/2006/relationships/slideLayout" Target="../slideLayouts/slideLayout225.xml"/><Relationship Id="rId22" Type="http://schemas.openxmlformats.org/officeDocument/2006/relationships/slideLayout" Target="../slideLayouts/slideLayout233.xml"/><Relationship Id="rId27" Type="http://schemas.openxmlformats.org/officeDocument/2006/relationships/slideLayout" Target="../slideLayouts/slideLayout238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7.xml"/><Relationship Id="rId13" Type="http://schemas.openxmlformats.org/officeDocument/2006/relationships/slideLayout" Target="../slideLayouts/slideLayout252.xml"/><Relationship Id="rId18" Type="http://schemas.openxmlformats.org/officeDocument/2006/relationships/slideLayout" Target="../slideLayouts/slideLayout257.xml"/><Relationship Id="rId3" Type="http://schemas.openxmlformats.org/officeDocument/2006/relationships/slideLayout" Target="../slideLayouts/slideLayout242.xml"/><Relationship Id="rId21" Type="http://schemas.openxmlformats.org/officeDocument/2006/relationships/slideLayout" Target="../slideLayouts/slideLayout260.xml"/><Relationship Id="rId7" Type="http://schemas.openxmlformats.org/officeDocument/2006/relationships/slideLayout" Target="../slideLayouts/slideLayout246.xml"/><Relationship Id="rId12" Type="http://schemas.openxmlformats.org/officeDocument/2006/relationships/slideLayout" Target="../slideLayouts/slideLayout251.xml"/><Relationship Id="rId17" Type="http://schemas.openxmlformats.org/officeDocument/2006/relationships/slideLayout" Target="../slideLayouts/slideLayout256.xml"/><Relationship Id="rId2" Type="http://schemas.openxmlformats.org/officeDocument/2006/relationships/slideLayout" Target="../slideLayouts/slideLayout241.xml"/><Relationship Id="rId16" Type="http://schemas.openxmlformats.org/officeDocument/2006/relationships/slideLayout" Target="../slideLayouts/slideLayout255.xml"/><Relationship Id="rId20" Type="http://schemas.openxmlformats.org/officeDocument/2006/relationships/slideLayout" Target="../slideLayouts/slideLayout259.xml"/><Relationship Id="rId1" Type="http://schemas.openxmlformats.org/officeDocument/2006/relationships/slideLayout" Target="../slideLayouts/slideLayout240.xml"/><Relationship Id="rId6" Type="http://schemas.openxmlformats.org/officeDocument/2006/relationships/slideLayout" Target="../slideLayouts/slideLayout245.xml"/><Relationship Id="rId11" Type="http://schemas.openxmlformats.org/officeDocument/2006/relationships/slideLayout" Target="../slideLayouts/slideLayout250.xml"/><Relationship Id="rId5" Type="http://schemas.openxmlformats.org/officeDocument/2006/relationships/slideLayout" Target="../slideLayouts/slideLayout244.xml"/><Relationship Id="rId15" Type="http://schemas.openxmlformats.org/officeDocument/2006/relationships/slideLayout" Target="../slideLayouts/slideLayout254.xml"/><Relationship Id="rId23" Type="http://schemas.openxmlformats.org/officeDocument/2006/relationships/image" Target="../media/image15.jpeg"/><Relationship Id="rId10" Type="http://schemas.openxmlformats.org/officeDocument/2006/relationships/slideLayout" Target="../slideLayouts/slideLayout249.xml"/><Relationship Id="rId19" Type="http://schemas.openxmlformats.org/officeDocument/2006/relationships/slideLayout" Target="../slideLayouts/slideLayout258.xml"/><Relationship Id="rId4" Type="http://schemas.openxmlformats.org/officeDocument/2006/relationships/slideLayout" Target="../slideLayouts/slideLayout243.xml"/><Relationship Id="rId9" Type="http://schemas.openxmlformats.org/officeDocument/2006/relationships/slideLayout" Target="../slideLayouts/slideLayout248.xml"/><Relationship Id="rId14" Type="http://schemas.openxmlformats.org/officeDocument/2006/relationships/slideLayout" Target="../slideLayouts/slideLayout253.xml"/><Relationship Id="rId22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8.xml"/><Relationship Id="rId3" Type="http://schemas.openxmlformats.org/officeDocument/2006/relationships/slideLayout" Target="../slideLayouts/slideLayout263.xml"/><Relationship Id="rId7" Type="http://schemas.openxmlformats.org/officeDocument/2006/relationships/slideLayout" Target="../slideLayouts/slideLayout267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262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11" Type="http://schemas.openxmlformats.org/officeDocument/2006/relationships/slideLayout" Target="../slideLayouts/slideLayout271.xml"/><Relationship Id="rId5" Type="http://schemas.openxmlformats.org/officeDocument/2006/relationships/slideLayout" Target="../slideLayouts/slideLayout265.xml"/><Relationship Id="rId10" Type="http://schemas.openxmlformats.org/officeDocument/2006/relationships/slideLayout" Target="../slideLayouts/slideLayout270.xml"/><Relationship Id="rId4" Type="http://schemas.openxmlformats.org/officeDocument/2006/relationships/slideLayout" Target="../slideLayouts/slideLayout264.xml"/><Relationship Id="rId9" Type="http://schemas.openxmlformats.org/officeDocument/2006/relationships/slideLayout" Target="../slideLayouts/slideLayout269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9.xml"/><Relationship Id="rId13" Type="http://schemas.openxmlformats.org/officeDocument/2006/relationships/slideLayout" Target="../slideLayouts/slideLayout284.xml"/><Relationship Id="rId18" Type="http://schemas.openxmlformats.org/officeDocument/2006/relationships/slideLayout" Target="../slideLayouts/slideLayout289.xml"/><Relationship Id="rId3" Type="http://schemas.openxmlformats.org/officeDocument/2006/relationships/slideLayout" Target="../slideLayouts/slideLayout274.xml"/><Relationship Id="rId21" Type="http://schemas.openxmlformats.org/officeDocument/2006/relationships/theme" Target="../theme/theme14.xml"/><Relationship Id="rId7" Type="http://schemas.openxmlformats.org/officeDocument/2006/relationships/slideLayout" Target="../slideLayouts/slideLayout278.xml"/><Relationship Id="rId12" Type="http://schemas.openxmlformats.org/officeDocument/2006/relationships/slideLayout" Target="../slideLayouts/slideLayout283.xml"/><Relationship Id="rId17" Type="http://schemas.openxmlformats.org/officeDocument/2006/relationships/slideLayout" Target="../slideLayouts/slideLayout288.xml"/><Relationship Id="rId2" Type="http://schemas.openxmlformats.org/officeDocument/2006/relationships/slideLayout" Target="../slideLayouts/slideLayout273.xml"/><Relationship Id="rId16" Type="http://schemas.openxmlformats.org/officeDocument/2006/relationships/slideLayout" Target="../slideLayouts/slideLayout287.xml"/><Relationship Id="rId20" Type="http://schemas.openxmlformats.org/officeDocument/2006/relationships/slideLayout" Target="../slideLayouts/slideLayout291.xml"/><Relationship Id="rId1" Type="http://schemas.openxmlformats.org/officeDocument/2006/relationships/slideLayout" Target="../slideLayouts/slideLayout272.xml"/><Relationship Id="rId6" Type="http://schemas.openxmlformats.org/officeDocument/2006/relationships/slideLayout" Target="../slideLayouts/slideLayout277.xml"/><Relationship Id="rId11" Type="http://schemas.openxmlformats.org/officeDocument/2006/relationships/slideLayout" Target="../slideLayouts/slideLayout282.xml"/><Relationship Id="rId5" Type="http://schemas.openxmlformats.org/officeDocument/2006/relationships/slideLayout" Target="../slideLayouts/slideLayout276.xml"/><Relationship Id="rId15" Type="http://schemas.openxmlformats.org/officeDocument/2006/relationships/slideLayout" Target="../slideLayouts/slideLayout286.xml"/><Relationship Id="rId10" Type="http://schemas.openxmlformats.org/officeDocument/2006/relationships/slideLayout" Target="../slideLayouts/slideLayout281.xml"/><Relationship Id="rId19" Type="http://schemas.openxmlformats.org/officeDocument/2006/relationships/slideLayout" Target="../slideLayouts/slideLayout290.xml"/><Relationship Id="rId4" Type="http://schemas.openxmlformats.org/officeDocument/2006/relationships/slideLayout" Target="../slideLayouts/slideLayout275.xml"/><Relationship Id="rId9" Type="http://schemas.openxmlformats.org/officeDocument/2006/relationships/slideLayout" Target="../slideLayouts/slideLayout280.xml"/><Relationship Id="rId14" Type="http://schemas.openxmlformats.org/officeDocument/2006/relationships/slideLayout" Target="../slideLayouts/slideLayout285.xml"/><Relationship Id="rId22" Type="http://schemas.openxmlformats.org/officeDocument/2006/relationships/image" Target="../media/image33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9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294.xml"/><Relationship Id="rId7" Type="http://schemas.openxmlformats.org/officeDocument/2006/relationships/slideLayout" Target="../slideLayouts/slideLayout298.xml"/><Relationship Id="rId12" Type="http://schemas.openxmlformats.org/officeDocument/2006/relationships/slideLayout" Target="../slideLayouts/slideLayout303.xml"/><Relationship Id="rId2" Type="http://schemas.openxmlformats.org/officeDocument/2006/relationships/slideLayout" Target="../slideLayouts/slideLayout293.xml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11" Type="http://schemas.openxmlformats.org/officeDocument/2006/relationships/slideLayout" Target="../slideLayouts/slideLayout302.xml"/><Relationship Id="rId5" Type="http://schemas.openxmlformats.org/officeDocument/2006/relationships/slideLayout" Target="../slideLayouts/slideLayout296.xml"/><Relationship Id="rId10" Type="http://schemas.openxmlformats.org/officeDocument/2006/relationships/slideLayout" Target="../slideLayouts/slideLayout301.xml"/><Relationship Id="rId4" Type="http://schemas.openxmlformats.org/officeDocument/2006/relationships/slideLayout" Target="../slideLayouts/slideLayout295.xml"/><Relationship Id="rId9" Type="http://schemas.openxmlformats.org/officeDocument/2006/relationships/slideLayout" Target="../slideLayouts/slideLayout30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1.xml"/><Relationship Id="rId13" Type="http://schemas.openxmlformats.org/officeDocument/2006/relationships/slideLayout" Target="../slideLayouts/slideLayout316.xml"/><Relationship Id="rId18" Type="http://schemas.openxmlformats.org/officeDocument/2006/relationships/slideLayout" Target="../slideLayouts/slideLayout321.xml"/><Relationship Id="rId3" Type="http://schemas.openxmlformats.org/officeDocument/2006/relationships/slideLayout" Target="../slideLayouts/slideLayout306.xml"/><Relationship Id="rId21" Type="http://schemas.openxmlformats.org/officeDocument/2006/relationships/slideLayout" Target="../slideLayouts/slideLayout324.xml"/><Relationship Id="rId7" Type="http://schemas.openxmlformats.org/officeDocument/2006/relationships/slideLayout" Target="../slideLayouts/slideLayout310.xml"/><Relationship Id="rId12" Type="http://schemas.openxmlformats.org/officeDocument/2006/relationships/slideLayout" Target="../slideLayouts/slideLayout315.xml"/><Relationship Id="rId17" Type="http://schemas.openxmlformats.org/officeDocument/2006/relationships/slideLayout" Target="../slideLayouts/slideLayout320.xml"/><Relationship Id="rId2" Type="http://schemas.openxmlformats.org/officeDocument/2006/relationships/slideLayout" Target="../slideLayouts/slideLayout305.xml"/><Relationship Id="rId16" Type="http://schemas.openxmlformats.org/officeDocument/2006/relationships/slideLayout" Target="../slideLayouts/slideLayout319.xml"/><Relationship Id="rId20" Type="http://schemas.openxmlformats.org/officeDocument/2006/relationships/slideLayout" Target="../slideLayouts/slideLayout323.xml"/><Relationship Id="rId1" Type="http://schemas.openxmlformats.org/officeDocument/2006/relationships/slideLayout" Target="../slideLayouts/slideLayout304.xml"/><Relationship Id="rId6" Type="http://schemas.openxmlformats.org/officeDocument/2006/relationships/slideLayout" Target="../slideLayouts/slideLayout309.xml"/><Relationship Id="rId11" Type="http://schemas.openxmlformats.org/officeDocument/2006/relationships/slideLayout" Target="../slideLayouts/slideLayout314.xml"/><Relationship Id="rId24" Type="http://schemas.openxmlformats.org/officeDocument/2006/relationships/image" Target="../media/image39.png"/><Relationship Id="rId5" Type="http://schemas.openxmlformats.org/officeDocument/2006/relationships/slideLayout" Target="../slideLayouts/slideLayout308.xml"/><Relationship Id="rId15" Type="http://schemas.openxmlformats.org/officeDocument/2006/relationships/slideLayout" Target="../slideLayouts/slideLayout318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313.xml"/><Relationship Id="rId19" Type="http://schemas.openxmlformats.org/officeDocument/2006/relationships/slideLayout" Target="../slideLayouts/slideLayout322.xml"/><Relationship Id="rId4" Type="http://schemas.openxmlformats.org/officeDocument/2006/relationships/slideLayout" Target="../slideLayouts/slideLayout307.xml"/><Relationship Id="rId9" Type="http://schemas.openxmlformats.org/officeDocument/2006/relationships/slideLayout" Target="../slideLayouts/slideLayout312.xml"/><Relationship Id="rId14" Type="http://schemas.openxmlformats.org/officeDocument/2006/relationships/slideLayout" Target="../slideLayouts/slideLayout317.xml"/><Relationship Id="rId22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2.xml"/><Relationship Id="rId13" Type="http://schemas.openxmlformats.org/officeDocument/2006/relationships/slideLayout" Target="../slideLayouts/slideLayout337.xml"/><Relationship Id="rId18" Type="http://schemas.openxmlformats.org/officeDocument/2006/relationships/slideLayout" Target="../slideLayouts/slideLayout342.xml"/><Relationship Id="rId3" Type="http://schemas.openxmlformats.org/officeDocument/2006/relationships/slideLayout" Target="../slideLayouts/slideLayout327.xml"/><Relationship Id="rId21" Type="http://schemas.openxmlformats.org/officeDocument/2006/relationships/theme" Target="../theme/theme17.xml"/><Relationship Id="rId7" Type="http://schemas.openxmlformats.org/officeDocument/2006/relationships/slideLayout" Target="../slideLayouts/slideLayout331.xml"/><Relationship Id="rId12" Type="http://schemas.openxmlformats.org/officeDocument/2006/relationships/slideLayout" Target="../slideLayouts/slideLayout336.xml"/><Relationship Id="rId17" Type="http://schemas.openxmlformats.org/officeDocument/2006/relationships/slideLayout" Target="../slideLayouts/slideLayout341.xml"/><Relationship Id="rId2" Type="http://schemas.openxmlformats.org/officeDocument/2006/relationships/slideLayout" Target="../slideLayouts/slideLayout326.xml"/><Relationship Id="rId16" Type="http://schemas.openxmlformats.org/officeDocument/2006/relationships/slideLayout" Target="../slideLayouts/slideLayout340.xml"/><Relationship Id="rId20" Type="http://schemas.openxmlformats.org/officeDocument/2006/relationships/slideLayout" Target="../slideLayouts/slideLayout344.xml"/><Relationship Id="rId1" Type="http://schemas.openxmlformats.org/officeDocument/2006/relationships/slideLayout" Target="../slideLayouts/slideLayout325.xml"/><Relationship Id="rId6" Type="http://schemas.openxmlformats.org/officeDocument/2006/relationships/slideLayout" Target="../slideLayouts/slideLayout330.xml"/><Relationship Id="rId11" Type="http://schemas.openxmlformats.org/officeDocument/2006/relationships/slideLayout" Target="../slideLayouts/slideLayout335.xml"/><Relationship Id="rId5" Type="http://schemas.openxmlformats.org/officeDocument/2006/relationships/slideLayout" Target="../slideLayouts/slideLayout329.xml"/><Relationship Id="rId15" Type="http://schemas.openxmlformats.org/officeDocument/2006/relationships/slideLayout" Target="../slideLayouts/slideLayout339.xml"/><Relationship Id="rId10" Type="http://schemas.openxmlformats.org/officeDocument/2006/relationships/slideLayout" Target="../slideLayouts/slideLayout334.xml"/><Relationship Id="rId19" Type="http://schemas.openxmlformats.org/officeDocument/2006/relationships/slideLayout" Target="../slideLayouts/slideLayout343.xml"/><Relationship Id="rId4" Type="http://schemas.openxmlformats.org/officeDocument/2006/relationships/slideLayout" Target="../slideLayouts/slideLayout328.xml"/><Relationship Id="rId9" Type="http://schemas.openxmlformats.org/officeDocument/2006/relationships/slideLayout" Target="../slideLayouts/slideLayout333.xml"/><Relationship Id="rId14" Type="http://schemas.openxmlformats.org/officeDocument/2006/relationships/slideLayout" Target="../slideLayouts/slideLayout338.xml"/><Relationship Id="rId22" Type="http://schemas.openxmlformats.org/officeDocument/2006/relationships/image" Target="../media/image15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2.xml"/><Relationship Id="rId13" Type="http://schemas.openxmlformats.org/officeDocument/2006/relationships/slideLayout" Target="../slideLayouts/slideLayout357.xml"/><Relationship Id="rId18" Type="http://schemas.openxmlformats.org/officeDocument/2006/relationships/slideLayout" Target="../slideLayouts/slideLayout362.xml"/><Relationship Id="rId3" Type="http://schemas.openxmlformats.org/officeDocument/2006/relationships/slideLayout" Target="../slideLayouts/slideLayout347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351.xml"/><Relationship Id="rId12" Type="http://schemas.openxmlformats.org/officeDocument/2006/relationships/slideLayout" Target="../slideLayouts/slideLayout356.xml"/><Relationship Id="rId17" Type="http://schemas.openxmlformats.org/officeDocument/2006/relationships/slideLayout" Target="../slideLayouts/slideLayout361.xml"/><Relationship Id="rId2" Type="http://schemas.openxmlformats.org/officeDocument/2006/relationships/slideLayout" Target="../slideLayouts/slideLayout346.xml"/><Relationship Id="rId16" Type="http://schemas.openxmlformats.org/officeDocument/2006/relationships/slideLayout" Target="../slideLayouts/slideLayout360.xml"/><Relationship Id="rId20" Type="http://schemas.openxmlformats.org/officeDocument/2006/relationships/theme" Target="../theme/theme18.xml"/><Relationship Id="rId1" Type="http://schemas.openxmlformats.org/officeDocument/2006/relationships/slideLayout" Target="../slideLayouts/slideLayout345.xml"/><Relationship Id="rId6" Type="http://schemas.openxmlformats.org/officeDocument/2006/relationships/slideLayout" Target="../slideLayouts/slideLayout350.xml"/><Relationship Id="rId11" Type="http://schemas.openxmlformats.org/officeDocument/2006/relationships/slideLayout" Target="../slideLayouts/slideLayout355.xml"/><Relationship Id="rId5" Type="http://schemas.openxmlformats.org/officeDocument/2006/relationships/slideLayout" Target="../slideLayouts/slideLayout349.xml"/><Relationship Id="rId15" Type="http://schemas.openxmlformats.org/officeDocument/2006/relationships/slideLayout" Target="../slideLayouts/slideLayout359.xml"/><Relationship Id="rId10" Type="http://schemas.openxmlformats.org/officeDocument/2006/relationships/slideLayout" Target="../slideLayouts/slideLayout354.xml"/><Relationship Id="rId19" Type="http://schemas.openxmlformats.org/officeDocument/2006/relationships/slideLayout" Target="../slideLayouts/slideLayout363.xml"/><Relationship Id="rId4" Type="http://schemas.openxmlformats.org/officeDocument/2006/relationships/slideLayout" Target="../slideLayouts/slideLayout348.xml"/><Relationship Id="rId9" Type="http://schemas.openxmlformats.org/officeDocument/2006/relationships/slideLayout" Target="../slideLayouts/slideLayout353.xml"/><Relationship Id="rId14" Type="http://schemas.openxmlformats.org/officeDocument/2006/relationships/slideLayout" Target="../slideLayouts/slideLayout358.xml"/><Relationship Id="rId22" Type="http://schemas.openxmlformats.org/officeDocument/2006/relationships/image" Target="file://localhost/Users/ldorion/Desktop/PPT/Assets/metlife_eng_logo_cmyk-c.jpg" TargetMode="Externa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1.xml"/><Relationship Id="rId13" Type="http://schemas.openxmlformats.org/officeDocument/2006/relationships/slideLayout" Target="../slideLayouts/slideLayout376.xml"/><Relationship Id="rId18" Type="http://schemas.openxmlformats.org/officeDocument/2006/relationships/slideLayout" Target="../slideLayouts/slideLayout381.xml"/><Relationship Id="rId3" Type="http://schemas.openxmlformats.org/officeDocument/2006/relationships/slideLayout" Target="../slideLayouts/slideLayout366.xml"/><Relationship Id="rId7" Type="http://schemas.openxmlformats.org/officeDocument/2006/relationships/slideLayout" Target="../slideLayouts/slideLayout370.xml"/><Relationship Id="rId12" Type="http://schemas.openxmlformats.org/officeDocument/2006/relationships/slideLayout" Target="../slideLayouts/slideLayout375.xml"/><Relationship Id="rId17" Type="http://schemas.openxmlformats.org/officeDocument/2006/relationships/slideLayout" Target="../slideLayouts/slideLayout380.xml"/><Relationship Id="rId2" Type="http://schemas.openxmlformats.org/officeDocument/2006/relationships/slideLayout" Target="../slideLayouts/slideLayout365.xml"/><Relationship Id="rId16" Type="http://schemas.openxmlformats.org/officeDocument/2006/relationships/slideLayout" Target="../slideLayouts/slideLayout379.xml"/><Relationship Id="rId1" Type="http://schemas.openxmlformats.org/officeDocument/2006/relationships/slideLayout" Target="../slideLayouts/slideLayout364.xml"/><Relationship Id="rId6" Type="http://schemas.openxmlformats.org/officeDocument/2006/relationships/slideLayout" Target="../slideLayouts/slideLayout369.xml"/><Relationship Id="rId11" Type="http://schemas.openxmlformats.org/officeDocument/2006/relationships/slideLayout" Target="../slideLayouts/slideLayout374.xml"/><Relationship Id="rId5" Type="http://schemas.openxmlformats.org/officeDocument/2006/relationships/slideLayout" Target="../slideLayouts/slideLayout368.xml"/><Relationship Id="rId15" Type="http://schemas.openxmlformats.org/officeDocument/2006/relationships/slideLayout" Target="../slideLayouts/slideLayout378.xml"/><Relationship Id="rId10" Type="http://schemas.openxmlformats.org/officeDocument/2006/relationships/slideLayout" Target="../slideLayouts/slideLayout373.xml"/><Relationship Id="rId19" Type="http://schemas.openxmlformats.org/officeDocument/2006/relationships/theme" Target="../theme/theme19.xml"/><Relationship Id="rId4" Type="http://schemas.openxmlformats.org/officeDocument/2006/relationships/slideLayout" Target="../slideLayouts/slideLayout367.xml"/><Relationship Id="rId9" Type="http://schemas.openxmlformats.org/officeDocument/2006/relationships/slideLayout" Target="../slideLayouts/slideLayout372.xml"/><Relationship Id="rId14" Type="http://schemas.openxmlformats.org/officeDocument/2006/relationships/slideLayout" Target="../slideLayouts/slideLayout37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image" Target="file://localhost/Users/ldorion/Desktop/PPT/Assets/metlife_eng_logo_cmyk-c.jpg" TargetMode="Externa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image" Target="../media/image3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9.xml"/><Relationship Id="rId13" Type="http://schemas.openxmlformats.org/officeDocument/2006/relationships/slideLayout" Target="../slideLayouts/slideLayout394.xml"/><Relationship Id="rId18" Type="http://schemas.openxmlformats.org/officeDocument/2006/relationships/slideLayout" Target="../slideLayouts/slideLayout399.xml"/><Relationship Id="rId26" Type="http://schemas.openxmlformats.org/officeDocument/2006/relationships/image" Target="../media/image43.png"/><Relationship Id="rId3" Type="http://schemas.openxmlformats.org/officeDocument/2006/relationships/slideLayout" Target="../slideLayouts/slideLayout384.xml"/><Relationship Id="rId21" Type="http://schemas.openxmlformats.org/officeDocument/2006/relationships/slideLayout" Target="../slideLayouts/slideLayout402.xml"/><Relationship Id="rId7" Type="http://schemas.openxmlformats.org/officeDocument/2006/relationships/slideLayout" Target="../slideLayouts/slideLayout388.xml"/><Relationship Id="rId12" Type="http://schemas.openxmlformats.org/officeDocument/2006/relationships/slideLayout" Target="../slideLayouts/slideLayout393.xml"/><Relationship Id="rId17" Type="http://schemas.openxmlformats.org/officeDocument/2006/relationships/slideLayout" Target="../slideLayouts/slideLayout398.xml"/><Relationship Id="rId25" Type="http://schemas.openxmlformats.org/officeDocument/2006/relationships/theme" Target="../theme/theme20.xml"/><Relationship Id="rId2" Type="http://schemas.openxmlformats.org/officeDocument/2006/relationships/slideLayout" Target="../slideLayouts/slideLayout383.xml"/><Relationship Id="rId16" Type="http://schemas.openxmlformats.org/officeDocument/2006/relationships/slideLayout" Target="../slideLayouts/slideLayout397.xml"/><Relationship Id="rId20" Type="http://schemas.openxmlformats.org/officeDocument/2006/relationships/slideLayout" Target="../slideLayouts/slideLayout401.xml"/><Relationship Id="rId1" Type="http://schemas.openxmlformats.org/officeDocument/2006/relationships/slideLayout" Target="../slideLayouts/slideLayout382.xml"/><Relationship Id="rId6" Type="http://schemas.openxmlformats.org/officeDocument/2006/relationships/slideLayout" Target="../slideLayouts/slideLayout387.xml"/><Relationship Id="rId11" Type="http://schemas.openxmlformats.org/officeDocument/2006/relationships/slideLayout" Target="../slideLayouts/slideLayout392.xml"/><Relationship Id="rId24" Type="http://schemas.openxmlformats.org/officeDocument/2006/relationships/slideLayout" Target="../slideLayouts/slideLayout405.xml"/><Relationship Id="rId5" Type="http://schemas.openxmlformats.org/officeDocument/2006/relationships/slideLayout" Target="../slideLayouts/slideLayout386.xml"/><Relationship Id="rId15" Type="http://schemas.openxmlformats.org/officeDocument/2006/relationships/slideLayout" Target="../slideLayouts/slideLayout396.xml"/><Relationship Id="rId23" Type="http://schemas.openxmlformats.org/officeDocument/2006/relationships/slideLayout" Target="../slideLayouts/slideLayout404.xml"/><Relationship Id="rId10" Type="http://schemas.openxmlformats.org/officeDocument/2006/relationships/slideLayout" Target="../slideLayouts/slideLayout391.xml"/><Relationship Id="rId19" Type="http://schemas.openxmlformats.org/officeDocument/2006/relationships/slideLayout" Target="../slideLayouts/slideLayout400.xml"/><Relationship Id="rId4" Type="http://schemas.openxmlformats.org/officeDocument/2006/relationships/slideLayout" Target="../slideLayouts/slideLayout385.xml"/><Relationship Id="rId9" Type="http://schemas.openxmlformats.org/officeDocument/2006/relationships/slideLayout" Target="../slideLayouts/slideLayout390.xml"/><Relationship Id="rId14" Type="http://schemas.openxmlformats.org/officeDocument/2006/relationships/slideLayout" Target="../slideLayouts/slideLayout395.xml"/><Relationship Id="rId22" Type="http://schemas.openxmlformats.org/officeDocument/2006/relationships/slideLayout" Target="../slideLayouts/slideLayout40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3" Type="http://schemas.openxmlformats.org/officeDocument/2006/relationships/slideLayout" Target="../slideLayouts/slideLayout92.xml"/><Relationship Id="rId21" Type="http://schemas.openxmlformats.org/officeDocument/2006/relationships/image" Target="file://localhost/Users/ldorion/Desktop/PPT/Assets/metlife_eng_logo_cmyk-c.jpg" TargetMode="Externa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0" Type="http://schemas.openxmlformats.org/officeDocument/2006/relationships/image" Target="../media/image3.jpeg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99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13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slideLayout" Target="../slideLayouts/slideLayout138.xml"/><Relationship Id="rId3" Type="http://schemas.openxmlformats.org/officeDocument/2006/relationships/slideLayout" Target="../slideLayouts/slideLayout123.xml"/><Relationship Id="rId21" Type="http://schemas.openxmlformats.org/officeDocument/2006/relationships/theme" Target="../theme/theme7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19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18" Type="http://schemas.openxmlformats.org/officeDocument/2006/relationships/slideLayout" Target="../slideLayouts/slideLayout158.xml"/><Relationship Id="rId3" Type="http://schemas.openxmlformats.org/officeDocument/2006/relationships/slideLayout" Target="../slideLayouts/slideLayout143.xml"/><Relationship Id="rId21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17" Type="http://schemas.openxmlformats.org/officeDocument/2006/relationships/slideLayout" Target="../slideLayouts/slideLayout157.xml"/><Relationship Id="rId2" Type="http://schemas.openxmlformats.org/officeDocument/2006/relationships/slideLayout" Target="../slideLayouts/slideLayout142.xml"/><Relationship Id="rId16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60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slideLayout" Target="../slideLayouts/slideLayout155.xml"/><Relationship Id="rId23" Type="http://schemas.openxmlformats.org/officeDocument/2006/relationships/image" Target="../media/image15.jpeg"/><Relationship Id="rId10" Type="http://schemas.openxmlformats.org/officeDocument/2006/relationships/slideLayout" Target="../slideLayouts/slideLayout150.xml"/><Relationship Id="rId19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Relationship Id="rId2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slideLayout" Target="../slideLayouts/slideLayout174.xml"/><Relationship Id="rId18" Type="http://schemas.openxmlformats.org/officeDocument/2006/relationships/slideLayout" Target="../slideLayouts/slideLayout179.xml"/><Relationship Id="rId26" Type="http://schemas.openxmlformats.org/officeDocument/2006/relationships/slideLayout" Target="../slideLayouts/slideLayout187.xml"/><Relationship Id="rId3" Type="http://schemas.openxmlformats.org/officeDocument/2006/relationships/slideLayout" Target="../slideLayouts/slideLayout164.xml"/><Relationship Id="rId21" Type="http://schemas.openxmlformats.org/officeDocument/2006/relationships/slideLayout" Target="../slideLayouts/slideLayout182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17" Type="http://schemas.openxmlformats.org/officeDocument/2006/relationships/slideLayout" Target="../slideLayouts/slideLayout178.xml"/><Relationship Id="rId25" Type="http://schemas.openxmlformats.org/officeDocument/2006/relationships/slideLayout" Target="../slideLayouts/slideLayout186.xml"/><Relationship Id="rId2" Type="http://schemas.openxmlformats.org/officeDocument/2006/relationships/slideLayout" Target="../slideLayouts/slideLayout163.xml"/><Relationship Id="rId16" Type="http://schemas.openxmlformats.org/officeDocument/2006/relationships/slideLayout" Target="../slideLayouts/slideLayout177.xml"/><Relationship Id="rId20" Type="http://schemas.openxmlformats.org/officeDocument/2006/relationships/slideLayout" Target="../slideLayouts/slideLayout181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24" Type="http://schemas.openxmlformats.org/officeDocument/2006/relationships/slideLayout" Target="../slideLayouts/slideLayout185.xml"/><Relationship Id="rId5" Type="http://schemas.openxmlformats.org/officeDocument/2006/relationships/slideLayout" Target="../slideLayouts/slideLayout166.xml"/><Relationship Id="rId15" Type="http://schemas.openxmlformats.org/officeDocument/2006/relationships/slideLayout" Target="../slideLayouts/slideLayout176.xml"/><Relationship Id="rId23" Type="http://schemas.openxmlformats.org/officeDocument/2006/relationships/slideLayout" Target="../slideLayouts/slideLayout184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71.xml"/><Relationship Id="rId19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75.xml"/><Relationship Id="rId22" Type="http://schemas.openxmlformats.org/officeDocument/2006/relationships/slideLayout" Target="../slideLayouts/slideLayout183.xml"/><Relationship Id="rId27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0" y="457200"/>
            <a:ext cx="1127895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0" y="1371601"/>
            <a:ext cx="11278950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8"/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E321F721-4826-4E4E-A2A8-70906FC8472E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1780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5" indent="-200025" algn="l" defTabSz="914400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0" y="457200"/>
            <a:ext cx="1127895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0" y="1371601"/>
            <a:ext cx="11278950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8"/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E321F721-4826-4E4E-A2A8-70906FC8472E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4704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  <p:sldLayoutId id="2147483873" r:id="rId17"/>
    <p:sldLayoutId id="2147483874" r:id="rId18"/>
    <p:sldLayoutId id="2147483875" r:id="rId19"/>
    <p:sldLayoutId id="2147483876" r:id="rId20"/>
    <p:sldLayoutId id="2147483877" r:id="rId21"/>
    <p:sldLayoutId id="2147483878" r:id="rId22"/>
    <p:sldLayoutId id="2147483879" r:id="rId23"/>
    <p:sldLayoutId id="2147483880" r:id="rId2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5" indent="-200025" algn="l" defTabSz="914400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18" y="1854329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787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2" r:id="rId1"/>
    <p:sldLayoutId id="2147483883" r:id="rId2"/>
    <p:sldLayoutId id="2147483884" r:id="rId3"/>
    <p:sldLayoutId id="2147483885" r:id="rId4"/>
    <p:sldLayoutId id="2147483886" r:id="rId5"/>
    <p:sldLayoutId id="2147483887" r:id="rId6"/>
    <p:sldLayoutId id="2147483888" r:id="rId7"/>
    <p:sldLayoutId id="2147483889" r:id="rId8"/>
    <p:sldLayoutId id="2147483890" r:id="rId9"/>
    <p:sldLayoutId id="2147483891" r:id="rId10"/>
    <p:sldLayoutId id="2147483892" r:id="rId11"/>
    <p:sldLayoutId id="2147483893" r:id="rId12"/>
    <p:sldLayoutId id="2147483894" r:id="rId13"/>
    <p:sldLayoutId id="2147483895" r:id="rId14"/>
    <p:sldLayoutId id="2147483896" r:id="rId15"/>
    <p:sldLayoutId id="2147483897" r:id="rId16"/>
    <p:sldLayoutId id="2147483898" r:id="rId17"/>
    <p:sldLayoutId id="2147483899" r:id="rId18"/>
    <p:sldLayoutId id="2147483900" r:id="rId19"/>
    <p:sldLayoutId id="2147483901" r:id="rId20"/>
    <p:sldLayoutId id="2147483902" r:id="rId21"/>
    <p:sldLayoutId id="2147483903" r:id="rId22"/>
    <p:sldLayoutId id="2147483904" r:id="rId23"/>
    <p:sldLayoutId id="2147483905" r:id="rId24"/>
    <p:sldLayoutId id="2147483906" r:id="rId25"/>
    <p:sldLayoutId id="2147483907" r:id="rId26"/>
    <p:sldLayoutId id="2147483908" r:id="rId27"/>
    <p:sldLayoutId id="2147483909" r:id="rId2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914377" rtl="0" eaLnBrk="1" latinLnBrk="0" hangingPunct="1">
        <a:lnSpc>
          <a:spcPct val="140000"/>
        </a:lnSpc>
        <a:spcBef>
          <a:spcPts val="1000"/>
        </a:spcBef>
        <a:buFont typeface="Arial"/>
        <a:buNone/>
        <a:defRPr sz="2933" kern="120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68270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228594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3pPr>
      <a:lvl4pPr marL="571486" indent="-176209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4pPr>
      <a:lvl5pPr marL="747695" indent="-227008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88">
          <p15:clr>
            <a:srgbClr val="F26B43"/>
          </p15:clr>
        </p15:guide>
        <p15:guide id="2" pos="168">
          <p15:clr>
            <a:srgbClr val="F26B43"/>
          </p15:clr>
        </p15:guide>
        <p15:guide id="3" orient="horz" pos="2916">
          <p15:clr>
            <a:srgbClr val="F26B43"/>
          </p15:clr>
        </p15:guide>
        <p15:guide id="4" orient="horz" pos="780">
          <p15:clr>
            <a:srgbClr val="F26B43"/>
          </p15:clr>
        </p15:guide>
        <p15:guide id="6" pos="5544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31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25" y="1854336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2" y="6415346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3889" y="6459799"/>
            <a:ext cx="1314046" cy="232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999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1" r:id="rId1"/>
    <p:sldLayoutId id="2147483912" r:id="rId2"/>
    <p:sldLayoutId id="2147483913" r:id="rId3"/>
    <p:sldLayoutId id="2147483914" r:id="rId4"/>
    <p:sldLayoutId id="2147483915" r:id="rId5"/>
    <p:sldLayoutId id="2147483916" r:id="rId6"/>
    <p:sldLayoutId id="2147483917" r:id="rId7"/>
    <p:sldLayoutId id="2147483918" r:id="rId8"/>
    <p:sldLayoutId id="2147483919" r:id="rId9"/>
    <p:sldLayoutId id="2147483920" r:id="rId10"/>
    <p:sldLayoutId id="2147483921" r:id="rId11"/>
    <p:sldLayoutId id="2147483922" r:id="rId12"/>
    <p:sldLayoutId id="2147483923" r:id="rId13"/>
    <p:sldLayoutId id="2147483924" r:id="rId14"/>
    <p:sldLayoutId id="2147483925" r:id="rId15"/>
    <p:sldLayoutId id="2147483926" r:id="rId16"/>
    <p:sldLayoutId id="2147483927" r:id="rId17"/>
    <p:sldLayoutId id="2147483928" r:id="rId18"/>
    <p:sldLayoutId id="2147483929" r:id="rId19"/>
    <p:sldLayoutId id="2147483930" r:id="rId20"/>
    <p:sldLayoutId id="2147483931" r:id="rId2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685800" rtl="0" eaLnBrk="1" latinLnBrk="0" hangingPunct="1">
        <a:lnSpc>
          <a:spcPct val="140000"/>
        </a:lnSpc>
        <a:spcBef>
          <a:spcPts val="750"/>
        </a:spcBef>
        <a:buFont typeface="Arial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130969" indent="-126206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302419" indent="-17145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28625" indent="-132160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560785" indent="-17026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68EA415-92DA-8D4B-9FA9-E639F45E5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F842926-4E91-FD46-8729-3AC1CF66BB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A769BB-2595-8642-8B51-B7264E486C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EA3802-2B6C-864C-A32A-41D25EB5E962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C74D9A-7297-4040-9476-5AB243B1351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9EE068-9AE5-6944-9700-75B76E6CD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630D9F-F969-1649-83ED-214B93E0C4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4766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31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38" y="1854344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3899" y="6459799"/>
            <a:ext cx="1314047" cy="232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66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  <p:sldLayoutId id="2147483956" r:id="rId12"/>
    <p:sldLayoutId id="2147483957" r:id="rId13"/>
    <p:sldLayoutId id="2147483958" r:id="rId14"/>
    <p:sldLayoutId id="2147483959" r:id="rId15"/>
    <p:sldLayoutId id="2147483960" r:id="rId16"/>
    <p:sldLayoutId id="2147483961" r:id="rId17"/>
    <p:sldLayoutId id="2147483962" r:id="rId18"/>
    <p:sldLayoutId id="2147483963" r:id="rId19"/>
    <p:sldLayoutId id="2147483964" r:id="rId2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685800" rtl="0" eaLnBrk="1" latinLnBrk="0" hangingPunct="1">
        <a:lnSpc>
          <a:spcPct val="140000"/>
        </a:lnSpc>
        <a:spcBef>
          <a:spcPts val="750"/>
        </a:spcBef>
        <a:buFont typeface="Arial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130969" indent="-126206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302419" indent="-17145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28625" indent="-132160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560785" indent="-17026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557A23D-3020-344F-912F-EF0C51A04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F022D9-5C4F-DF4B-AB66-9B4DAA7DE5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376E14-6F92-324C-874D-8E8894050E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DC0236-D7EE-8F40-BF50-19D2D57F568A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19A303-2CCE-3241-9AD3-E1EE31174D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4CF61B-93EE-004F-9226-00219C22E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3ACFFE-078D-5E49-84CE-D773E8BDCB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283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</p:sldLayoutIdLst>
  <p:txStyles>
    <p:titleStyle>
      <a:lvl1pPr algn="l" defTabSz="914126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31" indent="-228531" algn="l" defTabSz="91412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9" kern="1200">
          <a:solidFill>
            <a:schemeClr val="tx1"/>
          </a:solidFill>
          <a:latin typeface="+mn-lt"/>
          <a:ea typeface="+mn-ea"/>
          <a:cs typeface="+mn-cs"/>
        </a:defRPr>
      </a:lvl1pPr>
      <a:lvl2pPr marL="68559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657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720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783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846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908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7971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5034" indent="-228531" algn="l" defTabSz="91412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706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4126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7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9440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6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1" y="457200"/>
            <a:ext cx="11278951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1" y="1371601"/>
            <a:ext cx="11278951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8"/>
          <p:cNvSpPr txBox="1">
            <a:spLocks/>
          </p:cNvSpPr>
          <p:nvPr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lIns="91440" rIns="91440"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88825" y="6356197"/>
            <a:ext cx="1490935" cy="379143"/>
          </a:xfrm>
          <a:prstGeom prst="rect">
            <a:avLst/>
          </a:prstGeom>
        </p:spPr>
      </p:pic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7BBFEA55-E6CB-FA4D-A342-CAA145C6F31A}"/>
              </a:ext>
            </a:extLst>
          </p:cNvPr>
          <p:cNvSpPr txBox="1">
            <a:spLocks/>
          </p:cNvSpPr>
          <p:nvPr/>
        </p:nvSpPr>
        <p:spPr>
          <a:xfrm>
            <a:off x="6027720" y="6418627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 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8AA9B32-AA2F-4ED9-BF62-D71D1216EC23}"/>
              </a:ext>
            </a:extLst>
          </p:cNvPr>
          <p:cNvCxnSpPr>
            <a:cxnSpLocks/>
          </p:cNvCxnSpPr>
          <p:nvPr/>
        </p:nvCxnSpPr>
        <p:spPr>
          <a:xfrm>
            <a:off x="1985551" y="6322514"/>
            <a:ext cx="0" cy="446509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0215" y="6351125"/>
            <a:ext cx="658424" cy="382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3644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90" r:id="rId12"/>
    <p:sldLayoutId id="2147483991" r:id="rId13"/>
    <p:sldLayoutId id="2147483992" r:id="rId14"/>
    <p:sldLayoutId id="2147483993" r:id="rId15"/>
    <p:sldLayoutId id="2147483994" r:id="rId16"/>
    <p:sldLayoutId id="2147483995" r:id="rId17"/>
    <p:sldLayoutId id="2147483996" r:id="rId18"/>
    <p:sldLayoutId id="2147483997" r:id="rId19"/>
    <p:sldLayoutId id="2147483998" r:id="rId20"/>
    <p:sldLayoutId id="2147483999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i="0" kern="1200" spc="-20" baseline="0">
          <a:solidFill>
            <a:schemeClr val="tx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377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09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0" indent="-200020" algn="l" defTabSz="914377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09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53" indent="-200020" algn="l" defTabSz="914377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284" indent="-200020" algn="l" defTabSz="914377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31" indent="-182558" algn="l" defTabSz="914377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31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25" y="1854336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2" y="6415346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3889" y="6459799"/>
            <a:ext cx="1314046" cy="232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2301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  <p:sldLayoutId id="2147484011" r:id="rId11"/>
    <p:sldLayoutId id="2147484012" r:id="rId12"/>
    <p:sldLayoutId id="2147484013" r:id="rId13"/>
    <p:sldLayoutId id="2147484014" r:id="rId14"/>
    <p:sldLayoutId id="2147484015" r:id="rId15"/>
    <p:sldLayoutId id="2147484016" r:id="rId16"/>
    <p:sldLayoutId id="2147484017" r:id="rId17"/>
    <p:sldLayoutId id="2147484018" r:id="rId18"/>
    <p:sldLayoutId id="2147484019" r:id="rId19"/>
    <p:sldLayoutId id="2147484020" r:id="rId20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685800" rtl="0" eaLnBrk="1" latinLnBrk="0" hangingPunct="1">
        <a:lnSpc>
          <a:spcPct val="140000"/>
        </a:lnSpc>
        <a:spcBef>
          <a:spcPts val="750"/>
        </a:spcBef>
        <a:buFont typeface="Arial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130969" indent="-126206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302419" indent="-17145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28625" indent="-132160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560785" indent="-17026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18" y="1854329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1" r:link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756" y="6258392"/>
            <a:ext cx="1557155" cy="605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722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  <p:sldLayoutId id="2147484033" r:id="rId12"/>
    <p:sldLayoutId id="2147484034" r:id="rId13"/>
    <p:sldLayoutId id="2147484035" r:id="rId14"/>
    <p:sldLayoutId id="2147484036" r:id="rId15"/>
    <p:sldLayoutId id="2147484037" r:id="rId16"/>
    <p:sldLayoutId id="2147484038" r:id="rId17"/>
    <p:sldLayoutId id="2147484039" r:id="rId18"/>
    <p:sldLayoutId id="2147484040" r:id="rId19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914377" rtl="0" eaLnBrk="1" latinLnBrk="0" hangingPunct="1">
        <a:lnSpc>
          <a:spcPct val="140000"/>
        </a:lnSpc>
        <a:spcBef>
          <a:spcPts val="1000"/>
        </a:spcBef>
        <a:buFont typeface="Arial"/>
        <a:buNone/>
        <a:defRPr sz="2933" kern="120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68270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228594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3pPr>
      <a:lvl4pPr marL="571486" indent="-176209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4pPr>
      <a:lvl5pPr marL="747695" indent="-227008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18" y="1854329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To edit go to: Insert &gt; Header and Footer   </a:t>
            </a:r>
          </a:p>
        </p:txBody>
      </p:sp>
    </p:spTree>
    <p:extLst>
      <p:ext uri="{BB962C8B-B14F-4D97-AF65-F5344CB8AC3E}">
        <p14:creationId xmlns:p14="http://schemas.microsoft.com/office/powerpoint/2010/main" val="3157647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2" r:id="rId1"/>
    <p:sldLayoutId id="2147484043" r:id="rId2"/>
    <p:sldLayoutId id="2147484044" r:id="rId3"/>
    <p:sldLayoutId id="2147484045" r:id="rId4"/>
    <p:sldLayoutId id="2147484046" r:id="rId5"/>
    <p:sldLayoutId id="2147484047" r:id="rId6"/>
    <p:sldLayoutId id="2147484048" r:id="rId7"/>
    <p:sldLayoutId id="2147484049" r:id="rId8"/>
    <p:sldLayoutId id="2147484050" r:id="rId9"/>
    <p:sldLayoutId id="2147484051" r:id="rId10"/>
    <p:sldLayoutId id="2147484052" r:id="rId11"/>
    <p:sldLayoutId id="2147484053" r:id="rId12"/>
    <p:sldLayoutId id="2147484054" r:id="rId13"/>
    <p:sldLayoutId id="2147484055" r:id="rId14"/>
    <p:sldLayoutId id="2147484056" r:id="rId15"/>
    <p:sldLayoutId id="2147484057" r:id="rId16"/>
    <p:sldLayoutId id="2147484058" r:id="rId17"/>
    <p:sldLayoutId id="2147484059" r:id="rId1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914377" rtl="0" eaLnBrk="1" latinLnBrk="0" hangingPunct="1">
        <a:lnSpc>
          <a:spcPct val="140000"/>
        </a:lnSpc>
        <a:spcBef>
          <a:spcPts val="1000"/>
        </a:spcBef>
        <a:buFont typeface="Arial"/>
        <a:buNone/>
        <a:defRPr sz="2933" kern="120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68270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228594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3pPr>
      <a:lvl4pPr marL="571486" indent="-176209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4pPr>
      <a:lvl5pPr marL="747695" indent="-227008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18" y="1854329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5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2" r:link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756" y="6258392"/>
            <a:ext cx="1557155" cy="605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055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4085" r:id="rId20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914377" rtl="0" eaLnBrk="1" latinLnBrk="0" hangingPunct="1">
        <a:lnSpc>
          <a:spcPct val="140000"/>
        </a:lnSpc>
        <a:spcBef>
          <a:spcPts val="1000"/>
        </a:spcBef>
        <a:buFont typeface="Arial"/>
        <a:buNone/>
        <a:defRPr sz="2933" kern="120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68270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228594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3pPr>
      <a:lvl4pPr marL="571486" indent="-176209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4pPr>
      <a:lvl5pPr marL="747695" indent="-227008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0" y="457200"/>
            <a:ext cx="1127895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0" y="1371601"/>
            <a:ext cx="11278950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8"/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502" r="-13629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E321F721-4826-4E4E-A2A8-70906FC8472E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Gulf EB Strategy  |  11 Oct 2018</a:t>
            </a: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7BBFEA55-E6CB-FA4D-A342-CAA145C6F31A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  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2435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  <p:sldLayoutId id="2147484066" r:id="rId6"/>
    <p:sldLayoutId id="2147484067" r:id="rId7"/>
    <p:sldLayoutId id="2147484068" r:id="rId8"/>
    <p:sldLayoutId id="2147484069" r:id="rId9"/>
    <p:sldLayoutId id="2147484070" r:id="rId10"/>
    <p:sldLayoutId id="2147484071" r:id="rId11"/>
    <p:sldLayoutId id="2147484072" r:id="rId12"/>
    <p:sldLayoutId id="2147484073" r:id="rId13"/>
    <p:sldLayoutId id="2147484074" r:id="rId14"/>
    <p:sldLayoutId id="2147484075" r:id="rId15"/>
    <p:sldLayoutId id="2147484076" r:id="rId16"/>
    <p:sldLayoutId id="2147484077" r:id="rId17"/>
    <p:sldLayoutId id="2147484078" r:id="rId18"/>
    <p:sldLayoutId id="2147484079" r:id="rId19"/>
    <p:sldLayoutId id="2147484080" r:id="rId20"/>
    <p:sldLayoutId id="2147484081" r:id="rId21"/>
    <p:sldLayoutId id="2147484082" r:id="rId22"/>
    <p:sldLayoutId id="2147484083" r:id="rId23"/>
    <p:sldLayoutId id="2147484084" r:id="rId2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spc="-20" baseline="0">
          <a:solidFill>
            <a:schemeClr val="tx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2000" b="0" i="0" kern="900" spc="-20" baseline="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5" indent="-200025" algn="l" defTabSz="914400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900" spc="-20" baseline="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900" spc="-20" baseline="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600" b="0" i="0" kern="900" spc="-20" baseline="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900" spc="-20" baseline="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0" y="457200"/>
            <a:ext cx="1127895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0" y="1371601"/>
            <a:ext cx="11278950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8"/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 dirty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 dirty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7BBFEA55-E6CB-FA4D-A342-CAA145C6F31A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 dirty="0">
                <a:solidFill>
                  <a:schemeClr val="tx1"/>
                </a:solidFill>
                <a:latin typeface="Arial" charset="0"/>
                <a:cs typeface="Arial" charset="0"/>
              </a:rPr>
              <a:t>  </a:t>
            </a:r>
            <a:endParaRPr lang="en-US" sz="800" b="0" i="0" dirty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55666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  <p:sldLayoutId id="2147483728" r:id="rId22"/>
    <p:sldLayoutId id="2147483729" r:id="rId23"/>
    <p:sldLayoutId id="2147483730" r:id="rId24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spc="-20" baseline="0">
          <a:solidFill>
            <a:schemeClr val="tx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2000" b="0" i="0" kern="900" spc="-20" baseline="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5" indent="-200025" algn="l" defTabSz="914400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900" spc="-20" baseline="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900" spc="-20" baseline="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600" b="0" i="0" kern="900" spc="-20" baseline="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900" spc="-20" baseline="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59834" y="205317"/>
            <a:ext cx="8525933" cy="759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5600" y="1854201"/>
            <a:ext cx="10786533" cy="4282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 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 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7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5600" y="6527800"/>
            <a:ext cx="4114800" cy="143933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0061A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843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0" r:id="rId19"/>
    <p:sldLayoutId id="2147483751" r:id="rId20"/>
    <p:sldLayoutId id="2147483752" r:id="rId21"/>
  </p:sldLayoutIdLst>
  <p:hf hdr="0" ftr="0" dt="0"/>
  <p:txStyles>
    <p:titleStyle>
      <a:lvl1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  <a:lvl2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2pPr>
      <a:lvl3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3pPr>
      <a:lvl4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4pPr>
      <a:lvl5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5pPr>
      <a:lvl6pPr marL="609585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6pPr>
      <a:lvl7pPr marL="1219170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7pPr>
      <a:lvl8pPr marL="1828754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8pPr>
      <a:lvl9pPr marL="2438339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9pPr>
    </p:titleStyle>
    <p:bodyStyle>
      <a:lvl1pPr algn="l" defTabSz="914377" rtl="0" eaLnBrk="1" fontAlgn="base" hangingPunct="1">
        <a:lnSpc>
          <a:spcPct val="140000"/>
        </a:lnSpc>
        <a:spcBef>
          <a:spcPts val="1000"/>
        </a:spcBef>
        <a:spcAft>
          <a:spcPct val="0"/>
        </a:spcAft>
        <a:buFont typeface="Arial" pitchFamily="34" charset="0"/>
        <a:defRPr sz="2933" kern="1200">
          <a:solidFill>
            <a:schemeClr val="tx1"/>
          </a:solidFill>
          <a:latin typeface="+mn-lt"/>
          <a:ea typeface="+mn-ea"/>
          <a:cs typeface="+mn-cs"/>
        </a:defRPr>
      </a:lvl1pPr>
      <a:lvl2pPr marL="173562" indent="-167213" algn="l" defTabSz="914377" rtl="0" eaLnBrk="1" fontAlgn="base" hangingPunct="1">
        <a:lnSpc>
          <a:spcPct val="14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933" kern="1200">
          <a:solidFill>
            <a:schemeClr val="tx1"/>
          </a:solidFill>
          <a:latin typeface="+mn-lt"/>
          <a:ea typeface="+mn-ea"/>
          <a:cs typeface="+mn-cs"/>
        </a:defRPr>
      </a:lvl2pPr>
      <a:lvl3pPr marL="402157" indent="-228594" algn="l" defTabSz="914377" rtl="0" eaLnBrk="1" fontAlgn="base" hangingPunct="1">
        <a:lnSpc>
          <a:spcPct val="140000"/>
        </a:lnSpc>
        <a:spcBef>
          <a:spcPts val="500"/>
        </a:spcBef>
        <a:spcAft>
          <a:spcPct val="0"/>
        </a:spcAft>
        <a:buFont typeface=".AppleSystemUIFont"/>
        <a:buChar char="−"/>
        <a:defRPr sz="2933" kern="1200">
          <a:solidFill>
            <a:schemeClr val="tx1"/>
          </a:solidFill>
          <a:latin typeface="+mn-lt"/>
          <a:ea typeface="+mn-ea"/>
          <a:cs typeface="+mn-cs"/>
        </a:defRPr>
      </a:lvl3pPr>
      <a:lvl4pPr marL="571486" indent="-175680" algn="l" defTabSz="914377" rtl="0" eaLnBrk="1" fontAlgn="base" hangingPunct="1">
        <a:lnSpc>
          <a:spcPct val="14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933" kern="1200">
          <a:solidFill>
            <a:schemeClr val="tx1"/>
          </a:solidFill>
          <a:latin typeface="+mn-lt"/>
          <a:ea typeface="+mn-ea"/>
          <a:cs typeface="+mn-cs"/>
        </a:defRPr>
      </a:lvl4pPr>
      <a:lvl5pPr marL="747165" indent="-226478" algn="l" defTabSz="914377" rtl="0" eaLnBrk="1" fontAlgn="base" hangingPunct="1">
        <a:lnSpc>
          <a:spcPct val="140000"/>
        </a:lnSpc>
        <a:spcBef>
          <a:spcPts val="500"/>
        </a:spcBef>
        <a:spcAft>
          <a:spcPct val="0"/>
        </a:spcAft>
        <a:buFont typeface=".AppleSystemUIFont"/>
        <a:buChar char="−"/>
        <a:defRPr sz="29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18" y="1854329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  <a:endParaRPr lang="en-US" dirty="0"/>
          </a:p>
        </p:txBody>
      </p:sp>
      <p:pic>
        <p:nvPicPr>
          <p:cNvPr id="5" name="metlife_eng_logo_cmyk-c.jpg" descr="/Users/ldorion/Desktop/PPT/Assets/metlife_eng_logo_cmyk-c.jpg"/>
          <p:cNvPicPr>
            <a:picLocks noChangeAspect="1"/>
          </p:cNvPicPr>
          <p:nvPr/>
        </p:nvPicPr>
        <p:blipFill>
          <a:blip r:embed="rId20" r:link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756" y="6258392"/>
            <a:ext cx="1557155" cy="605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42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766" r:id="rId13"/>
    <p:sldLayoutId id="2147483767" r:id="rId14"/>
    <p:sldLayoutId id="2147483768" r:id="rId15"/>
    <p:sldLayoutId id="2147483769" r:id="rId16"/>
    <p:sldLayoutId id="2147483770" r:id="rId17"/>
    <p:sldLayoutId id="2147483771" r:id="rId1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733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914377" rtl="0" eaLnBrk="1" latinLnBrk="0" hangingPunct="1">
        <a:lnSpc>
          <a:spcPct val="140000"/>
        </a:lnSpc>
        <a:spcBef>
          <a:spcPts val="1000"/>
        </a:spcBef>
        <a:buFont typeface="Arial"/>
        <a:buNone/>
        <a:defRPr sz="2933" kern="120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68270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228594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3pPr>
      <a:lvl4pPr marL="571486" indent="-176209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4pPr>
      <a:lvl5pPr marL="747695" indent="-227008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11472672" cy="75895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idx="1"/>
          </p:nvPr>
        </p:nvSpPr>
        <p:spPr>
          <a:xfrm>
            <a:off x="358876" y="1067916"/>
            <a:ext cx="11472672" cy="5120640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366070" y="6458050"/>
            <a:ext cx="72276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5B843ECF-461F-4819-A4F0-ADD4A890588D}" type="slidenum">
              <a:rPr lang="en-US" sz="1600" smtClean="0">
                <a:solidFill>
                  <a:srgbClr val="898989"/>
                </a:solidFill>
                <a:latin typeface="+mn-lt"/>
              </a:rPr>
              <a:pPr algn="r"/>
              <a:t>‹#›</a:t>
            </a:fld>
            <a:endParaRPr lang="en-US" sz="1600" dirty="0">
              <a:solidFill>
                <a:srgbClr val="898989"/>
              </a:solidFill>
              <a:latin typeface="+mn-lt"/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800" dirty="0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grpSp>
        <p:nvGrpSpPr>
          <p:cNvPr id="13" name="Group 12"/>
          <p:cNvGrpSpPr/>
          <p:nvPr/>
        </p:nvGrpSpPr>
        <p:grpSpPr>
          <a:xfrm>
            <a:off x="271304" y="6318973"/>
            <a:ext cx="1381849" cy="402977"/>
            <a:chOff x="1655154" y="6299399"/>
            <a:chExt cx="1255103" cy="488020"/>
          </a:xfrm>
        </p:grpSpPr>
        <p:sp>
          <p:nvSpPr>
            <p:cNvPr id="14" name="Rectangle 13"/>
            <p:cNvSpPr/>
            <p:nvPr/>
          </p:nvSpPr>
          <p:spPr>
            <a:xfrm>
              <a:off x="1655154" y="6299399"/>
              <a:ext cx="1255103" cy="4880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54" t="25599" r="9369" b="25265"/>
            <a:stretch/>
          </p:blipFill>
          <p:spPr>
            <a:xfrm>
              <a:off x="1788914" y="6426695"/>
              <a:ext cx="987582" cy="2334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5904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</p:sldLayoutIdLst>
  <p:txStyles>
    <p:titleStyle>
      <a:lvl1pPr algn="l" defTabSz="914377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75" indent="-182875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5751" indent="-182875" algn="l" defTabSz="914377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26" indent="-182875" algn="l" defTabSz="914377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02" indent="-182875" algn="l" defTabSz="914377" rtl="0" eaLnBrk="1" latinLnBrk="0" hangingPunct="1">
        <a:lnSpc>
          <a:spcPct val="100000"/>
        </a:lnSpc>
        <a:spcBef>
          <a:spcPts val="6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914377" indent="-182875" algn="l" defTabSz="914377" rtl="0" eaLnBrk="1" latinLnBrk="0" hangingPunct="1">
        <a:lnSpc>
          <a:spcPct val="100000"/>
        </a:lnSpc>
        <a:spcBef>
          <a:spcPts val="600"/>
        </a:spcBef>
        <a:buFont typeface="Wingdings" panose="05000000000000000000" pitchFamily="2" charset="2"/>
        <a:buChar char="v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359834" y="205317"/>
            <a:ext cx="8525933" cy="7598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5600" y="1854201"/>
            <a:ext cx="10786533" cy="4282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 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 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7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5600" y="6527800"/>
            <a:ext cx="4114800" cy="143933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0061A0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To edit go to: Insert &gt; Header and Footer  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6643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  <p:sldLayoutId id="2147483803" r:id="rId17"/>
    <p:sldLayoutId id="2147483804" r:id="rId18"/>
    <p:sldLayoutId id="2147483805" r:id="rId19"/>
    <p:sldLayoutId id="2147483806" r:id="rId20"/>
  </p:sldLayoutIdLst>
  <p:hf hdr="0" ftr="0" dt="0"/>
  <p:txStyles>
    <p:titleStyle>
      <a:lvl1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  <a:lvl2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2pPr>
      <a:lvl3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3pPr>
      <a:lvl4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4pPr>
      <a:lvl5pPr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5pPr>
      <a:lvl6pPr marL="609585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6pPr>
      <a:lvl7pPr marL="1219170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7pPr>
      <a:lvl8pPr marL="1828754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8pPr>
      <a:lvl9pPr marL="2438339" algn="l" defTabSz="914377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33" b="1">
          <a:solidFill>
            <a:schemeClr val="tx1"/>
          </a:solidFill>
          <a:latin typeface="Georgia" pitchFamily="18" charset="0"/>
          <a:ea typeface="Georgia" pitchFamily="18" charset="0"/>
          <a:cs typeface="Georgia" pitchFamily="18" charset="0"/>
        </a:defRPr>
      </a:lvl9pPr>
    </p:titleStyle>
    <p:bodyStyle>
      <a:lvl1pPr algn="l" defTabSz="914377" rtl="0" eaLnBrk="1" fontAlgn="base" hangingPunct="1">
        <a:lnSpc>
          <a:spcPct val="140000"/>
        </a:lnSpc>
        <a:spcBef>
          <a:spcPts val="1000"/>
        </a:spcBef>
        <a:spcAft>
          <a:spcPct val="0"/>
        </a:spcAft>
        <a:buFont typeface="Arial" pitchFamily="34" charset="0"/>
        <a:defRPr sz="2933" kern="1200">
          <a:solidFill>
            <a:schemeClr val="tx1"/>
          </a:solidFill>
          <a:latin typeface="+mn-lt"/>
          <a:ea typeface="+mn-ea"/>
          <a:cs typeface="+mn-cs"/>
        </a:defRPr>
      </a:lvl1pPr>
      <a:lvl2pPr marL="173562" indent="-167213" algn="l" defTabSz="914377" rtl="0" eaLnBrk="1" fontAlgn="base" hangingPunct="1">
        <a:lnSpc>
          <a:spcPct val="14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933" kern="1200">
          <a:solidFill>
            <a:schemeClr val="tx1"/>
          </a:solidFill>
          <a:latin typeface="+mn-lt"/>
          <a:ea typeface="+mn-ea"/>
          <a:cs typeface="+mn-cs"/>
        </a:defRPr>
      </a:lvl2pPr>
      <a:lvl3pPr marL="402157" indent="-228594" algn="l" defTabSz="914377" rtl="0" eaLnBrk="1" fontAlgn="base" hangingPunct="1">
        <a:lnSpc>
          <a:spcPct val="140000"/>
        </a:lnSpc>
        <a:spcBef>
          <a:spcPts val="500"/>
        </a:spcBef>
        <a:spcAft>
          <a:spcPct val="0"/>
        </a:spcAft>
        <a:buFont typeface=".AppleSystemUIFont"/>
        <a:buChar char="−"/>
        <a:defRPr sz="2933" kern="1200">
          <a:solidFill>
            <a:schemeClr val="tx1"/>
          </a:solidFill>
          <a:latin typeface="+mn-lt"/>
          <a:ea typeface="+mn-ea"/>
          <a:cs typeface="+mn-cs"/>
        </a:defRPr>
      </a:lvl3pPr>
      <a:lvl4pPr marL="571486" indent="-175680" algn="l" defTabSz="914377" rtl="0" eaLnBrk="1" fontAlgn="base" hangingPunct="1">
        <a:lnSpc>
          <a:spcPct val="14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933" kern="1200">
          <a:solidFill>
            <a:schemeClr val="tx1"/>
          </a:solidFill>
          <a:latin typeface="+mn-lt"/>
          <a:ea typeface="+mn-ea"/>
          <a:cs typeface="+mn-cs"/>
        </a:defRPr>
      </a:lvl4pPr>
      <a:lvl5pPr marL="747165" indent="-226478" algn="l" defTabSz="914377" rtl="0" eaLnBrk="1" fontAlgn="base" hangingPunct="1">
        <a:lnSpc>
          <a:spcPct val="140000"/>
        </a:lnSpc>
        <a:spcBef>
          <a:spcPts val="500"/>
        </a:spcBef>
        <a:spcAft>
          <a:spcPct val="0"/>
        </a:spcAft>
        <a:buFont typeface=".AppleSystemUIFont"/>
        <a:buChar char="−"/>
        <a:defRPr sz="29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31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25" y="1854335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 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 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5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4516" y="6364576"/>
            <a:ext cx="1370409" cy="313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623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  <p:sldLayoutId id="2147483822" r:id="rId15"/>
    <p:sldLayoutId id="2147483823" r:id="rId16"/>
    <p:sldLayoutId id="2147483824" r:id="rId17"/>
    <p:sldLayoutId id="2147483825" r:id="rId18"/>
    <p:sldLayoutId id="2147483826" r:id="rId19"/>
    <p:sldLayoutId id="2147483827" r:id="rId20"/>
    <p:sldLayoutId id="2147483828" r:id="rId2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685800" rtl="0" eaLnBrk="1" latinLnBrk="0" hangingPunct="1">
        <a:lnSpc>
          <a:spcPct val="140000"/>
        </a:lnSpc>
        <a:spcBef>
          <a:spcPts val="750"/>
        </a:spcBef>
        <a:buFont typeface="Arial"/>
        <a:buNone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130969" indent="-126206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302419" indent="-17145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428625" indent="-132160" algn="l" defTabSz="685800" rtl="0" eaLnBrk="1" latinLnBrk="0" hangingPunct="1">
        <a:lnSpc>
          <a:spcPct val="140000"/>
        </a:lnSpc>
        <a:spcBef>
          <a:spcPts val="375"/>
        </a:spcBef>
        <a:buFont typeface="Arial"/>
        <a:buChar char="•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560785" indent="-170260" algn="l" defTabSz="685800" rtl="0" eaLnBrk="1" latinLnBrk="0" hangingPunct="1">
        <a:lnSpc>
          <a:spcPct val="140000"/>
        </a:lnSpc>
        <a:spcBef>
          <a:spcPts val="375"/>
        </a:spcBef>
        <a:buFont typeface=".AppleSystemUIFont" charset="-120"/>
        <a:buChar char="−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0" y="457200"/>
            <a:ext cx="1127895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0" y="1371601"/>
            <a:ext cx="11278950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Content Placeholder 8"/>
          <p:cNvSpPr txBox="1">
            <a:spLocks/>
          </p:cNvSpPr>
          <p:nvPr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E321F721-4826-4E4E-A2A8-70906FC8472E}"/>
              </a:ext>
            </a:extLst>
          </p:cNvPr>
          <p:cNvSpPr txBox="1">
            <a:spLocks/>
          </p:cNvSpPr>
          <p:nvPr/>
        </p:nvSpPr>
        <p:spPr>
          <a:xfrm>
            <a:off x="8924073" y="6418626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7BBFEA55-E6CB-FA4D-A342-CAA145C6F31A}"/>
              </a:ext>
            </a:extLst>
          </p:cNvPr>
          <p:cNvSpPr txBox="1">
            <a:spLocks/>
          </p:cNvSpPr>
          <p:nvPr/>
        </p:nvSpPr>
        <p:spPr>
          <a:xfrm>
            <a:off x="6027720" y="6418626"/>
            <a:ext cx="2896352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800" b="0" i="0">
                <a:solidFill>
                  <a:schemeClr val="tx1"/>
                </a:solidFill>
                <a:latin typeface="Arial" charset="0"/>
                <a:cs typeface="Arial" charset="0"/>
              </a:rPr>
              <a:t>UAE engagement strategy / Pursuit of Life update</a:t>
            </a:r>
            <a:endParaRPr lang="en-US" sz="800" b="0" i="0">
              <a:solidFill>
                <a:schemeClr val="tx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9290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  <p:sldLayoutId id="2147483844" r:id="rId15"/>
    <p:sldLayoutId id="2147483845" r:id="rId16"/>
    <p:sldLayoutId id="2147483846" r:id="rId17"/>
    <p:sldLayoutId id="2147483847" r:id="rId18"/>
    <p:sldLayoutId id="2147483848" r:id="rId19"/>
    <p:sldLayoutId id="2147483849" r:id="rId20"/>
    <p:sldLayoutId id="2147483850" r:id="rId21"/>
    <p:sldLayoutId id="2147483851" r:id="rId22"/>
    <p:sldLayoutId id="2147483852" r:id="rId23"/>
    <p:sldLayoutId id="2147483853" r:id="rId24"/>
    <p:sldLayoutId id="2147483854" r:id="rId25"/>
    <p:sldLayoutId id="2147483855" r:id="rId2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5" indent="-200025" algn="l" defTabSz="914400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5C61785-6061-42A6-84FC-8319B7E3523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4756"/>
          <a:stretch/>
        </p:blipFill>
        <p:spPr>
          <a:xfrm>
            <a:off x="-24680" y="-27384"/>
            <a:ext cx="10441160" cy="623731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AB45BAB-4880-4E15-9208-5772F33BFFE1}"/>
              </a:ext>
            </a:extLst>
          </p:cNvPr>
          <p:cNvSpPr/>
          <p:nvPr/>
        </p:nvSpPr>
        <p:spPr>
          <a:xfrm>
            <a:off x="-24680" y="-27384"/>
            <a:ext cx="10441160" cy="6264696"/>
          </a:xfrm>
          <a:prstGeom prst="rect">
            <a:avLst/>
          </a:prstGeom>
          <a:solidFill>
            <a:srgbClr val="00000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BB1D99-B7DB-449A-8BF7-BACF5D4CA23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5732" y="3824096"/>
            <a:ext cx="6796120" cy="1215588"/>
          </a:xfrm>
        </p:spPr>
        <p:txBody>
          <a:bodyPr/>
          <a:lstStyle/>
          <a:p>
            <a:r>
              <a:rPr lang="en-GB" dirty="0"/>
              <a:t>Investor Advantage: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4665FD8-F85D-4B86-9591-FE9B4B6A49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5731" y="5181904"/>
            <a:ext cx="6796963" cy="335328"/>
          </a:xfrm>
        </p:spPr>
        <p:txBody>
          <a:bodyPr/>
          <a:lstStyle/>
          <a:p>
            <a:r>
              <a:rPr lang="en-GB" dirty="0"/>
              <a:t>An investment solu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7142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90DAAA-65CC-4CF2-AA7E-BE553BA675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&amp;E Char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23E61C4-41E0-4600-A441-2FB3247F60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3C191C0-7C6B-4786-A863-2CE6CCA18F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2029" y="2112150"/>
            <a:ext cx="7827942" cy="263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5690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AEB547-6398-4BBB-BFEE-42311C2AC6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quidity Op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69CF10F-A934-4F6E-B1AA-1CB3AFCF70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BD6B99A-298F-4E15-9BAF-BF0C5CA375E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6351" lvl="1" indent="0" algn="just">
              <a:spcBef>
                <a:spcPct val="50000"/>
              </a:spcBef>
              <a:buClr>
                <a:srgbClr val="006AB6"/>
              </a:buClr>
              <a:buNone/>
            </a:pPr>
            <a:r>
              <a:rPr lang="en-US" altLang="en-US" sz="1800" b="1" dirty="0"/>
              <a:t>Full Surrender | Free Partial Surrender | Charged Partial Surrender</a:t>
            </a:r>
          </a:p>
        </p:txBody>
      </p:sp>
      <p:sp>
        <p:nvSpPr>
          <p:cNvPr id="14" name="Rounded Rectangle 7">
            <a:extLst>
              <a:ext uri="{FF2B5EF4-FFF2-40B4-BE49-F238E27FC236}">
                <a16:creationId xmlns:a16="http://schemas.microsoft.com/office/drawing/2014/main" id="{BD4C4F66-A450-4C7E-B47A-7E05782CEF6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3132" y="1988840"/>
            <a:ext cx="3366604" cy="3240359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lIns="0" tIns="0" rIns="0" bIns="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lvl="1" eaLnBrk="1" hangingPunct="1">
              <a:spcBef>
                <a:spcPct val="50000"/>
              </a:spcBef>
              <a:buClr>
                <a:srgbClr val="006AB6"/>
              </a:buClr>
            </a:pPr>
            <a:r>
              <a:rPr lang="en-US" altLang="en-US" sz="1800" b="1" dirty="0"/>
              <a:t>Surrender Charges</a:t>
            </a:r>
            <a:endParaRPr lang="en-US" altLang="en-US" sz="1400" b="1" dirty="0"/>
          </a:p>
          <a:p>
            <a:pPr marL="742950" lvl="1" indent="-285750" eaLnBrk="1" hangingPunct="1">
              <a:spcBef>
                <a:spcPct val="50000"/>
              </a:spcBef>
              <a:buClr>
                <a:srgbClr val="006AB6"/>
              </a:buClr>
              <a:buFont typeface="Arial" panose="020B0604020202020204" pitchFamily="34" charset="0"/>
              <a:buChar char="•"/>
            </a:pPr>
            <a:r>
              <a:rPr lang="en-US" altLang="en-US" sz="1400" dirty="0"/>
              <a:t>Are a factor of Basic Planned Premium</a:t>
            </a:r>
          </a:p>
          <a:p>
            <a:pPr marL="742950" lvl="1" indent="-285750" eaLnBrk="1" hangingPunct="1">
              <a:spcBef>
                <a:spcPct val="50000"/>
              </a:spcBef>
              <a:buClr>
                <a:srgbClr val="006AB6"/>
              </a:buClr>
              <a:buFont typeface="Arial" panose="020B0604020202020204" pitchFamily="34" charset="0"/>
              <a:buChar char="•"/>
            </a:pPr>
            <a:r>
              <a:rPr lang="en-US" altLang="en-US" sz="1400" dirty="0"/>
              <a:t>Are not linked to the Account Value </a:t>
            </a:r>
          </a:p>
          <a:p>
            <a:pPr marL="742950" lvl="1" indent="-285750" eaLnBrk="1" hangingPunct="1">
              <a:spcBef>
                <a:spcPct val="50000"/>
              </a:spcBef>
              <a:buClr>
                <a:srgbClr val="006AB6"/>
              </a:buClr>
              <a:buFont typeface="Arial" panose="020B0604020202020204" pitchFamily="34" charset="0"/>
              <a:buChar char="•"/>
            </a:pPr>
            <a:r>
              <a:rPr lang="en-US" altLang="en-US" sz="1400" dirty="0">
                <a:solidFill>
                  <a:schemeClr val="tx1"/>
                </a:solidFill>
              </a:rPr>
              <a:t>Depend on the premium payment term and the policy month of surrender</a:t>
            </a:r>
            <a:endParaRPr lang="en-US" altLang="en-US" sz="1400" dirty="0">
              <a:solidFill>
                <a:schemeClr val="tx2"/>
              </a:solidFill>
            </a:endParaRPr>
          </a:p>
          <a:p>
            <a:pPr marL="742950" lvl="1" indent="-285750" eaLnBrk="1" hangingPunct="1">
              <a:spcBef>
                <a:spcPct val="50000"/>
              </a:spcBef>
              <a:buClr>
                <a:srgbClr val="006AB6"/>
              </a:buClr>
              <a:buFont typeface="Arial" panose="020B0604020202020204" pitchFamily="34" charset="0"/>
              <a:buChar char="•"/>
            </a:pPr>
            <a:r>
              <a:rPr lang="en-US" altLang="en-US" sz="1400" dirty="0"/>
              <a:t>Client not penalized for the growth of the Account Valu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3AD76AF-FB24-4563-A04E-395B156956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63752" y="1556792"/>
            <a:ext cx="8088331" cy="4846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646721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7EFAB2-92D5-4517-B90D-7790408317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EFEFC67-35F5-42B6-8950-A9C147053FEB}"/>
              </a:ext>
            </a:extLst>
          </p:cNvPr>
          <p:cNvSpPr txBox="1">
            <a:spLocks/>
          </p:cNvSpPr>
          <p:nvPr/>
        </p:nvSpPr>
        <p:spPr bwMode="auto">
          <a:xfrm>
            <a:off x="2026444" y="522288"/>
            <a:ext cx="8139112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800">
                <a:solidFill>
                  <a:srgbClr val="006AB6"/>
                </a:solidFill>
              </a:rPr>
              <a:t>Full Surrende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BEB7D2-C0E6-4A81-A446-E269529022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64544" y="1635125"/>
            <a:ext cx="7793037" cy="307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algn="just">
              <a:buClr>
                <a:srgbClr val="006AB6"/>
              </a:buClr>
              <a:buFontTx/>
              <a:buNone/>
            </a:pPr>
            <a:r>
              <a:rPr lang="en-US" altLang="en-US" sz="1600" b="1" dirty="0">
                <a:solidFill>
                  <a:srgbClr val="0070C0"/>
                </a:solidFill>
              </a:rPr>
              <a:t>At time of Full Surrender  Client Gets : Net Cash Surrender Value</a:t>
            </a:r>
          </a:p>
          <a:p>
            <a:pPr>
              <a:buClr>
                <a:srgbClr val="006AB6"/>
              </a:buClr>
              <a:buFontTx/>
              <a:buNone/>
            </a:pPr>
            <a:endParaRPr lang="en-US" altLang="en-US" sz="1600" b="1" dirty="0">
              <a:solidFill>
                <a:srgbClr val="FF9900"/>
              </a:solidFill>
            </a:endParaRPr>
          </a:p>
          <a:p>
            <a:pPr>
              <a:buClr>
                <a:srgbClr val="006AB6"/>
              </a:buClr>
              <a:buFontTx/>
              <a:buNone/>
            </a:pPr>
            <a:r>
              <a:rPr lang="en-US" altLang="en-US" sz="1600" b="1" dirty="0">
                <a:solidFill>
                  <a:schemeClr val="tx1"/>
                </a:solidFill>
              </a:rPr>
              <a:t>What is:</a:t>
            </a:r>
          </a:p>
          <a:p>
            <a:pPr lvl="1" algn="just">
              <a:spcBef>
                <a:spcPct val="50000"/>
              </a:spcBef>
              <a:buClr>
                <a:srgbClr val="006AB6"/>
              </a:buClr>
              <a:buFont typeface="Arial" panose="020B0604020202020204" pitchFamily="34" charset="0"/>
              <a:buChar char="•"/>
            </a:pPr>
            <a:r>
              <a:rPr lang="en-US" altLang="en-US" sz="1600" b="1" dirty="0"/>
              <a:t>Net Cash Surrender Value: </a:t>
            </a:r>
            <a:r>
              <a:rPr lang="en-US" altLang="en-US" sz="1600" dirty="0"/>
              <a:t>Cash Surrender Value less any indebtedness</a:t>
            </a:r>
          </a:p>
          <a:p>
            <a:pPr lvl="1" algn="just">
              <a:spcBef>
                <a:spcPct val="50000"/>
              </a:spcBef>
              <a:buClr>
                <a:srgbClr val="006AB6"/>
              </a:buClr>
              <a:buFont typeface="Arial" panose="020B0604020202020204" pitchFamily="34" charset="0"/>
              <a:buChar char="•"/>
            </a:pPr>
            <a:r>
              <a:rPr lang="en-US" altLang="en-US" sz="1600" b="1" dirty="0"/>
              <a:t>Cash Surrender Value:</a:t>
            </a:r>
            <a:r>
              <a:rPr lang="en-US" altLang="en-US" sz="1600" dirty="0"/>
              <a:t> Account Value less applicable Surrender Fee and expense recoupment charge</a:t>
            </a:r>
          </a:p>
          <a:p>
            <a:pPr lvl="1" algn="just">
              <a:spcBef>
                <a:spcPct val="50000"/>
              </a:spcBef>
              <a:buClr>
                <a:srgbClr val="006AB6"/>
              </a:buClr>
              <a:buFont typeface="Arial" panose="020B0604020202020204" pitchFamily="34" charset="0"/>
              <a:buChar char="•"/>
            </a:pPr>
            <a:r>
              <a:rPr lang="en-US" altLang="en-US" sz="1600" b="1" dirty="0"/>
              <a:t>Surrender Fee: </a:t>
            </a:r>
          </a:p>
          <a:p>
            <a:pPr lvl="4" algn="just">
              <a:spcBef>
                <a:spcPct val="50000"/>
              </a:spcBef>
              <a:buClr>
                <a:srgbClr val="006AB6"/>
              </a:buClr>
              <a:buFont typeface="Wingdings" panose="05000000000000000000" pitchFamily="2" charset="2"/>
              <a:buChar char="§"/>
            </a:pPr>
            <a:r>
              <a:rPr lang="en-US" altLang="en-US" sz="1600" dirty="0"/>
              <a:t>a percentage of the Basic Planned Premium </a:t>
            </a:r>
          </a:p>
          <a:p>
            <a:pPr lvl="4" algn="just">
              <a:spcBef>
                <a:spcPct val="50000"/>
              </a:spcBef>
              <a:buClr>
                <a:srgbClr val="006AB6"/>
              </a:buClr>
              <a:buFont typeface="Wingdings" panose="05000000000000000000" pitchFamily="2" charset="2"/>
              <a:buChar char="§"/>
            </a:pPr>
            <a:r>
              <a:rPr lang="en-US" altLang="en-US" sz="1600" dirty="0"/>
              <a:t>depends on the premium payment term and the policy month of surrender.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91A3F2C-41F8-418B-9E76-E8FC04C78F72}"/>
              </a:ext>
            </a:extLst>
          </p:cNvPr>
          <p:cNvGrpSpPr>
            <a:grpSpLocks/>
          </p:cNvGrpSpPr>
          <p:nvPr/>
        </p:nvGrpSpPr>
        <p:grpSpPr bwMode="auto">
          <a:xfrm>
            <a:off x="3032919" y="5529263"/>
            <a:ext cx="3443287" cy="806450"/>
            <a:chOff x="3022656" y="1965406"/>
            <a:chExt cx="4562983" cy="1011238"/>
          </a:xfrm>
        </p:grpSpPr>
        <p:sp>
          <p:nvSpPr>
            <p:cNvPr id="10" name="Rounded Rectangle 5">
              <a:extLst>
                <a:ext uri="{FF2B5EF4-FFF2-40B4-BE49-F238E27FC236}">
                  <a16:creationId xmlns:a16="http://schemas.microsoft.com/office/drawing/2014/main" id="{3A28E246-2B21-4443-BCE3-61FA06E045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2656" y="1965406"/>
              <a:ext cx="1836737" cy="1011238"/>
            </a:xfrm>
            <a:prstGeom prst="roundRect">
              <a:avLst>
                <a:gd name="adj" fmla="val 16667"/>
              </a:avLst>
            </a:prstGeom>
            <a:gradFill rotWithShape="0">
              <a:gsLst>
                <a:gs pos="0">
                  <a:srgbClr val="006AB6"/>
                </a:gs>
                <a:gs pos="100000">
                  <a:srgbClr val="1C3958"/>
                </a:gs>
              </a:gsLst>
              <a:lin ang="2700000" scaled="1"/>
            </a:grad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bg1"/>
                  </a:solidFill>
                </a:rPr>
                <a:t>Account </a:t>
              </a: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bg1"/>
                  </a:solidFill>
                </a:rPr>
                <a:t>Value</a:t>
              </a: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2BC2E4F0-1F9E-44A7-958F-A4C9A847ED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59209" y="2090815"/>
              <a:ext cx="841491" cy="760419"/>
            </a:xfrm>
            <a:prstGeom prst="ellipse">
              <a:avLst/>
            </a:prstGeom>
            <a:gradFill rotWithShape="1">
              <a:gsLst>
                <a:gs pos="0">
                  <a:srgbClr val="FFBD6F"/>
                </a:gs>
                <a:gs pos="23000">
                  <a:srgbClr val="FFBD6F"/>
                </a:gs>
                <a:gs pos="55000">
                  <a:srgbClr val="FF8711"/>
                </a:gs>
                <a:gs pos="100000">
                  <a:srgbClr val="FF6600"/>
                </a:gs>
              </a:gsLst>
              <a:lin ang="5400000"/>
            </a:gradFill>
            <a:ln w="9525">
              <a:noFill/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2000" b="1" dirty="0">
                  <a:solidFill>
                    <a:srgbClr val="FFFFFF"/>
                  </a:solidFill>
                  <a:latin typeface="Arial" charset="0"/>
                  <a:ea typeface="ＭＳ Ｐゴシック" charset="-128"/>
                </a:rPr>
                <a:t>-</a:t>
              </a:r>
            </a:p>
          </p:txBody>
        </p:sp>
        <p:sp>
          <p:nvSpPr>
            <p:cNvPr id="12" name="Rounded Rectangle 9">
              <a:extLst>
                <a:ext uri="{FF2B5EF4-FFF2-40B4-BE49-F238E27FC236}">
                  <a16:creationId xmlns:a16="http://schemas.microsoft.com/office/drawing/2014/main" id="{C81D4212-C0EC-470A-B522-A4CA8C93F7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748902" y="1965406"/>
              <a:ext cx="1836737" cy="1011238"/>
            </a:xfrm>
            <a:prstGeom prst="roundRect">
              <a:avLst>
                <a:gd name="adj" fmla="val 16667"/>
              </a:avLst>
            </a:prstGeom>
            <a:gradFill rotWithShape="0">
              <a:gsLst>
                <a:gs pos="0">
                  <a:srgbClr val="006AB6"/>
                </a:gs>
                <a:gs pos="100000">
                  <a:srgbClr val="1C3958"/>
                </a:gs>
              </a:gsLst>
              <a:lin ang="2700000" scaled="1"/>
            </a:grad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bg1"/>
                  </a:solidFill>
                </a:rPr>
                <a:t>Applicable  Surrender  Charge</a:t>
              </a:r>
            </a:p>
          </p:txBody>
        </p:sp>
      </p:grpSp>
      <p:sp>
        <p:nvSpPr>
          <p:cNvPr id="8" name="Oval 7">
            <a:extLst>
              <a:ext uri="{FF2B5EF4-FFF2-40B4-BE49-F238E27FC236}">
                <a16:creationId xmlns:a16="http://schemas.microsoft.com/office/drawing/2014/main" id="{9FFEF28C-906B-411C-94EC-797B1099899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71444" y="5621338"/>
            <a:ext cx="636587" cy="606425"/>
          </a:xfrm>
          <a:prstGeom prst="ellipse">
            <a:avLst/>
          </a:prstGeom>
          <a:gradFill rotWithShape="1">
            <a:gsLst>
              <a:gs pos="0">
                <a:srgbClr val="FFBD6F"/>
              </a:gs>
              <a:gs pos="23000">
                <a:srgbClr val="FFBD6F"/>
              </a:gs>
              <a:gs pos="55000">
                <a:srgbClr val="FF8711"/>
              </a:gs>
              <a:gs pos="100000">
                <a:srgbClr val="FF6600"/>
              </a:gs>
            </a:gsLst>
            <a:lin ang="5400000"/>
          </a:gradFill>
          <a:ln w="9525">
            <a:noFill/>
            <a:round/>
            <a:headEnd/>
            <a:tailEnd/>
          </a:ln>
          <a:effectLst>
            <a:outerShdw blurRad="40000" dist="23000" dir="5400000" rotWithShape="0">
              <a:srgbClr val="808080">
                <a:alpha val="34999"/>
              </a:srgbClr>
            </a:outerShdw>
          </a:effec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en-US" sz="2000" b="1" dirty="0">
                <a:solidFill>
                  <a:srgbClr val="FFFFFF"/>
                </a:solidFill>
                <a:latin typeface="Arial" charset="0"/>
                <a:ea typeface="ＭＳ Ｐゴシック" charset="-128"/>
              </a:rPr>
              <a:t>-</a:t>
            </a:r>
          </a:p>
        </p:txBody>
      </p:sp>
      <p:sp>
        <p:nvSpPr>
          <p:cNvPr id="9" name="Rounded Rectangle 9">
            <a:extLst>
              <a:ext uri="{FF2B5EF4-FFF2-40B4-BE49-F238E27FC236}">
                <a16:creationId xmlns:a16="http://schemas.microsoft.com/office/drawing/2014/main" id="{62345EDA-E90B-4178-97D5-7FD7A73BCC1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73119" y="5521325"/>
            <a:ext cx="1385887" cy="806450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006AB6"/>
              </a:gs>
              <a:gs pos="100000">
                <a:srgbClr val="1C3958"/>
              </a:gs>
            </a:gsLst>
            <a:lin ang="2700000" scaled="1"/>
          </a:gradFill>
          <a:ln w="38100" algn="ctr">
            <a:solidFill>
              <a:schemeClr val="bg1"/>
            </a:solidFill>
            <a:round/>
            <a:headEnd/>
            <a:tailEnd/>
          </a:ln>
        </p:spPr>
        <p:txBody>
          <a:bodyPr lIns="0" tIns="0" rIns="0" bIns="0" anchor="ctr" anchorCtr="1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200" b="1">
                <a:solidFill>
                  <a:schemeClr val="bg1"/>
                </a:solidFill>
              </a:rPr>
              <a:t>Indebtedness 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1200" b="1">
                <a:solidFill>
                  <a:schemeClr val="bg1"/>
                </a:solidFill>
              </a:rPr>
              <a:t>if any</a:t>
            </a:r>
          </a:p>
        </p:txBody>
      </p:sp>
    </p:spTree>
    <p:extLst>
      <p:ext uri="{BB962C8B-B14F-4D97-AF65-F5344CB8AC3E}">
        <p14:creationId xmlns:p14="http://schemas.microsoft.com/office/powerpoint/2010/main" val="33644814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AD8175F-C7A2-4D66-A5CD-F874205FD0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3F06015-3BA4-4416-8B07-138F812CBD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0713" y="1516856"/>
            <a:ext cx="8432800" cy="4862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33BBEF5-7918-4365-BCE7-D1D79F16A7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68488" y="478631"/>
            <a:ext cx="8139113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800">
                <a:solidFill>
                  <a:srgbClr val="006AB6"/>
                </a:solidFill>
              </a:rPr>
              <a:t>Example of full surrender</a:t>
            </a:r>
            <a:endParaRPr lang="en-US" altLang="en-US" sz="1800">
              <a:solidFill>
                <a:srgbClr val="006AB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10501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5404CD4-4340-4D76-96F1-4CCD88F90C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46B2ADC-14F6-453D-BC8A-CA7C83DC4EF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07406" y="1410494"/>
            <a:ext cx="8202613" cy="2725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</a:pPr>
            <a:r>
              <a:rPr lang="en-US" altLang="en-US" sz="1400">
                <a:solidFill>
                  <a:schemeClr val="tx1"/>
                </a:solidFill>
              </a:rPr>
              <a:t>A maximum of four free partial withdrawal is allowed in each policy year.</a:t>
            </a:r>
            <a:br>
              <a:rPr lang="en-US" altLang="en-US" sz="1400">
                <a:solidFill>
                  <a:schemeClr val="tx1"/>
                </a:solidFill>
              </a:rPr>
            </a:br>
            <a:endParaRPr lang="en-US" altLang="en-US" sz="140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</a:pPr>
            <a:r>
              <a:rPr lang="en-US" altLang="en-US" sz="1400">
                <a:solidFill>
                  <a:schemeClr val="tx1"/>
                </a:solidFill>
              </a:rPr>
              <a:t>The maximum amount of a free partial withdrawal depends on the premium payment term of the policy and whether the withdrawal is taken before or after the premium payment term.</a:t>
            </a:r>
            <a:r>
              <a:rPr lang="en-US" altLang="en-US" sz="1400">
                <a:solidFill>
                  <a:schemeClr val="tx2"/>
                </a:solidFill>
              </a:rPr>
              <a:t> </a:t>
            </a: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</a:pPr>
            <a:endParaRPr lang="en-US" altLang="en-US" sz="140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</a:pPr>
            <a:endParaRPr lang="en-US" altLang="en-US" sz="1400">
              <a:solidFill>
                <a:schemeClr val="tx2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  <a:buFontTx/>
              <a:buNone/>
            </a:pPr>
            <a:r>
              <a:rPr lang="en-US" altLang="en-US" sz="1400" b="1">
                <a:solidFill>
                  <a:schemeClr val="tx1"/>
                </a:solidFill>
              </a:rPr>
              <a:t>Before the end of premium payment term</a:t>
            </a: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  <a:buFontTx/>
              <a:buNone/>
            </a:pPr>
            <a:endParaRPr lang="en-US" altLang="en-US" sz="1400" b="1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</a:pPr>
            <a:r>
              <a:rPr lang="en-US" altLang="en-US" sz="1400">
                <a:solidFill>
                  <a:schemeClr val="tx1"/>
                </a:solidFill>
              </a:rPr>
              <a:t>The remaining Account Value after the withdrawal should be at least equal to the total premiums paid till the point of withdrawal</a:t>
            </a:r>
            <a:endParaRPr lang="en-US" altLang="en-US" sz="140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</a:pPr>
            <a:endParaRPr lang="en-US" altLang="en-US" sz="140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</a:pPr>
            <a:endParaRPr lang="en-US" altLang="en-US" sz="1400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  <a:buFontTx/>
              <a:buNone/>
            </a:pPr>
            <a:r>
              <a:rPr lang="en-US" altLang="en-US" sz="1400" b="1">
                <a:solidFill>
                  <a:schemeClr val="tx1"/>
                </a:solidFill>
              </a:rPr>
              <a:t>After the end of premium payment term</a:t>
            </a:r>
            <a:endParaRPr lang="en-US" altLang="en-US" sz="1400">
              <a:solidFill>
                <a:schemeClr val="tx1"/>
              </a:solidFill>
              <a:cs typeface="Times New Roman" panose="02020603050405020304" pitchFamily="18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</a:pPr>
            <a:endParaRPr lang="en-US" altLang="en-US" sz="1400">
              <a:solidFill>
                <a:schemeClr val="tx2"/>
              </a:solidFill>
            </a:endParaRPr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30D70F95-8C2A-4A49-9DBC-BB01E0A758F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07406" y="6314282"/>
            <a:ext cx="802957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000">
                <a:solidFill>
                  <a:schemeClr val="tx1"/>
                </a:solidFill>
              </a:rPr>
              <a:t> *SC is the Surrender Charge applicable at the point of withdraw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7A7637A-C643-4BDC-8BBB-27F26FC2C1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81981" y="297657"/>
            <a:ext cx="8139113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800">
                <a:solidFill>
                  <a:srgbClr val="006AB6"/>
                </a:solidFill>
              </a:rPr>
              <a:t>Free partial surrender</a:t>
            </a:r>
            <a:endParaRPr lang="en-US" altLang="en-US" sz="1800">
              <a:solidFill>
                <a:srgbClr val="006AB6"/>
              </a:solidFill>
            </a:endParaRPr>
          </a:p>
        </p:txBody>
      </p:sp>
      <p:pic>
        <p:nvPicPr>
          <p:cNvPr id="7" name="table">
            <a:extLst>
              <a:ext uri="{FF2B5EF4-FFF2-40B4-BE49-F238E27FC236}">
                <a16:creationId xmlns:a16="http://schemas.microsoft.com/office/drawing/2014/main" id="{C6D35F46-9A0F-4707-996E-7444F841B54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9469" y="4275932"/>
            <a:ext cx="8139111" cy="1900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1664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4D96C02-9A5B-4196-A38F-49BFE92C9D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pPr/>
              <a:t>15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9A6EBF2-DCE3-4911-A8BA-64FB90F892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7863" y="1524000"/>
            <a:ext cx="8375650" cy="4964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A0006CB-E39B-4BF7-B431-9B33257523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68488" y="369888"/>
            <a:ext cx="8139113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800">
                <a:solidFill>
                  <a:srgbClr val="006AB6"/>
                </a:solidFill>
              </a:rPr>
              <a:t>Example of free partial surrender</a:t>
            </a:r>
            <a:endParaRPr lang="en-US" altLang="en-US" sz="1800">
              <a:solidFill>
                <a:srgbClr val="006AB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4228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E4102D7-E281-4719-8A67-86BC54F5D5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A0AEE9-12A2-4799-8D13-8D6A005E48B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95463" y="351632"/>
            <a:ext cx="8139113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800">
                <a:solidFill>
                  <a:srgbClr val="006AB6"/>
                </a:solidFill>
              </a:rPr>
              <a:t>Partial Surrender</a:t>
            </a:r>
            <a:endParaRPr lang="en-US" altLang="en-US" sz="1800">
              <a:solidFill>
                <a:srgbClr val="006AB6"/>
              </a:solidFill>
            </a:endParaRPr>
          </a:p>
        </p:txBody>
      </p:sp>
      <p:pic>
        <p:nvPicPr>
          <p:cNvPr id="6" name="table">
            <a:extLst>
              <a:ext uri="{FF2B5EF4-FFF2-40B4-BE49-F238E27FC236}">
                <a16:creationId xmlns:a16="http://schemas.microsoft.com/office/drawing/2014/main" id="{CC5D3E17-7C4B-4556-94D9-91B1636C1E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463" y="1543844"/>
            <a:ext cx="8542338" cy="251936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DD6C37F-0F95-4D4D-9783-BB6BBC1D1F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03401" y="5796757"/>
            <a:ext cx="8593137" cy="70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1200" b="1">
                <a:solidFill>
                  <a:schemeClr val="tx1"/>
                </a:solidFill>
              </a:rPr>
              <a:t>Notes: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1200" b="1">
              <a:solidFill>
                <a:schemeClr val="tx1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</a:pPr>
            <a:r>
              <a:rPr lang="en-US" altLang="en-US" sz="1200" b="1">
                <a:solidFill>
                  <a:schemeClr val="tx1"/>
                </a:solidFill>
              </a:rPr>
              <a:t>The client may specify how much of the surrendered amount is to come from the various investment sub‑accounts. </a:t>
            </a: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</a:pPr>
            <a:r>
              <a:rPr lang="en-US" altLang="en-US" sz="1200" b="1">
                <a:solidFill>
                  <a:schemeClr val="tx1"/>
                </a:solidFill>
              </a:rPr>
              <a:t>If no specific request is made, the partial surrender will be deducted pro‑rata from each of the sub‑accounts.</a:t>
            </a:r>
          </a:p>
          <a:p>
            <a:pPr>
              <a:lnSpc>
                <a:spcPct val="100000"/>
              </a:lnSpc>
              <a:spcBef>
                <a:spcPct val="0"/>
              </a:spcBef>
              <a:buClr>
                <a:srgbClr val="0070C0"/>
              </a:buClr>
              <a:buFontTx/>
              <a:buNone/>
            </a:pPr>
            <a:endParaRPr lang="en-US" altLang="en-US" sz="1200">
              <a:solidFill>
                <a:schemeClr val="tx2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DB7524B-A1B1-4F4F-9F34-11ED54A4B66E}"/>
              </a:ext>
            </a:extLst>
          </p:cNvPr>
          <p:cNvGrpSpPr>
            <a:grpSpLocks/>
          </p:cNvGrpSpPr>
          <p:nvPr/>
        </p:nvGrpSpPr>
        <p:grpSpPr bwMode="auto">
          <a:xfrm>
            <a:off x="2406651" y="4347369"/>
            <a:ext cx="6916735" cy="1181100"/>
            <a:chOff x="363538" y="4714160"/>
            <a:chExt cx="6915587" cy="1180158"/>
          </a:xfrm>
        </p:grpSpPr>
        <p:sp>
          <p:nvSpPr>
            <p:cNvPr id="9" name="Rounded Rectangle 5">
              <a:extLst>
                <a:ext uri="{FF2B5EF4-FFF2-40B4-BE49-F238E27FC236}">
                  <a16:creationId xmlns:a16="http://schemas.microsoft.com/office/drawing/2014/main" id="{AB3184CB-9EBD-4D25-9873-E22E048A287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3538" y="4925774"/>
              <a:ext cx="1386026" cy="806450"/>
            </a:xfrm>
            <a:prstGeom prst="roundRect">
              <a:avLst>
                <a:gd name="adj" fmla="val 16667"/>
              </a:avLst>
            </a:prstGeom>
            <a:gradFill rotWithShape="0">
              <a:gsLst>
                <a:gs pos="0">
                  <a:srgbClr val="006AB6"/>
                </a:gs>
                <a:gs pos="100000">
                  <a:srgbClr val="1C3958"/>
                </a:gs>
              </a:gsLst>
              <a:lin ang="2700000" scaled="1"/>
            </a:grad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bg1"/>
                  </a:solidFill>
                </a:rPr>
                <a:t>Partial </a:t>
              </a:r>
            </a:p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bg1"/>
                  </a:solidFill>
                </a:rPr>
                <a:t>Surrender</a:t>
              </a: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B4F262FB-EDFD-4F10-B22A-B01A817C4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61889" y="5028234"/>
              <a:ext cx="634894" cy="605941"/>
            </a:xfrm>
            <a:prstGeom prst="ellipse">
              <a:avLst/>
            </a:prstGeom>
            <a:gradFill rotWithShape="1">
              <a:gsLst>
                <a:gs pos="0">
                  <a:srgbClr val="FFBD6F"/>
                </a:gs>
                <a:gs pos="23000">
                  <a:srgbClr val="FFBD6F"/>
                </a:gs>
                <a:gs pos="55000">
                  <a:srgbClr val="FF8711"/>
                </a:gs>
                <a:gs pos="100000">
                  <a:srgbClr val="FF6600"/>
                </a:gs>
              </a:gsLst>
              <a:lin ang="5400000"/>
            </a:gradFill>
            <a:ln w="9525">
              <a:noFill/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2000" b="1" dirty="0">
                  <a:solidFill>
                    <a:srgbClr val="FFFFFF"/>
                  </a:solidFill>
                  <a:latin typeface="Arial" charset="0"/>
                  <a:ea typeface="ＭＳ Ｐゴシック" charset="-128"/>
                </a:rPr>
                <a:t>=</a:t>
              </a:r>
            </a:p>
          </p:txBody>
        </p:sp>
        <p:sp>
          <p:nvSpPr>
            <p:cNvPr id="11" name="Rounded Rectangle 9">
              <a:extLst>
                <a:ext uri="{FF2B5EF4-FFF2-40B4-BE49-F238E27FC236}">
                  <a16:creationId xmlns:a16="http://schemas.microsoft.com/office/drawing/2014/main" id="{586BD11B-9EF0-439D-97F7-98F95912D5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1807" y="4714160"/>
              <a:ext cx="2085624" cy="505494"/>
            </a:xfrm>
            <a:prstGeom prst="roundRect">
              <a:avLst>
                <a:gd name="adj" fmla="val 16667"/>
              </a:avLst>
            </a:prstGeom>
            <a:gradFill rotWithShape="0">
              <a:gsLst>
                <a:gs pos="0">
                  <a:srgbClr val="006AB6"/>
                </a:gs>
                <a:gs pos="100000">
                  <a:srgbClr val="1C3958"/>
                </a:gs>
              </a:gsLst>
              <a:lin ang="2700000" scaled="1"/>
            </a:grad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bg1"/>
                  </a:solidFill>
                </a:rPr>
                <a:t>Partial Surrender amount</a:t>
              </a:r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50292CDB-3457-43B4-AAAF-4CFEDBDA7B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96676" y="4990165"/>
              <a:ext cx="636481" cy="605941"/>
            </a:xfrm>
            <a:prstGeom prst="ellipse">
              <a:avLst/>
            </a:prstGeom>
            <a:gradFill rotWithShape="1">
              <a:gsLst>
                <a:gs pos="0">
                  <a:srgbClr val="FFBD6F"/>
                </a:gs>
                <a:gs pos="23000">
                  <a:srgbClr val="FFBD6F"/>
                </a:gs>
                <a:gs pos="55000">
                  <a:srgbClr val="FF8711"/>
                </a:gs>
                <a:gs pos="100000">
                  <a:srgbClr val="FF6600"/>
                </a:gs>
              </a:gsLst>
              <a:lin ang="5400000"/>
            </a:gradFill>
            <a:ln w="9525">
              <a:noFill/>
              <a:round/>
              <a:headEnd/>
              <a:tailEnd/>
            </a:ln>
            <a:effectLst>
              <a:outerShdw blurRad="40000" dist="23000" dir="5400000" rotWithShape="0">
                <a:srgbClr val="808080">
                  <a:alpha val="34999"/>
                </a:srgbClr>
              </a:outerShdw>
            </a:effectLst>
          </p:spPr>
          <p:txBody>
            <a:bodyPr anchor="ctr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2000" b="1" dirty="0">
                  <a:solidFill>
                    <a:srgbClr val="FFFFFF"/>
                  </a:solidFill>
                  <a:latin typeface="Arial" charset="0"/>
                  <a:ea typeface="ＭＳ Ｐゴシック" charset="-128"/>
                </a:rPr>
                <a:t>X</a:t>
              </a:r>
            </a:p>
          </p:txBody>
        </p:sp>
        <p:sp>
          <p:nvSpPr>
            <p:cNvPr id="13" name="Rounded Rectangle 9">
              <a:extLst>
                <a:ext uri="{FF2B5EF4-FFF2-40B4-BE49-F238E27FC236}">
                  <a16:creationId xmlns:a16="http://schemas.microsoft.com/office/drawing/2014/main" id="{CB0EB8ED-3E28-4C86-B3A4-BBC388C32D1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3237" y="4889477"/>
              <a:ext cx="1385888" cy="806450"/>
            </a:xfrm>
            <a:prstGeom prst="roundRect">
              <a:avLst>
                <a:gd name="adj" fmla="val 16667"/>
              </a:avLst>
            </a:prstGeom>
            <a:gradFill rotWithShape="0">
              <a:gsLst>
                <a:gs pos="0">
                  <a:srgbClr val="006AB6"/>
                </a:gs>
                <a:gs pos="100000">
                  <a:srgbClr val="1C3958"/>
                </a:gs>
              </a:gsLst>
              <a:lin ang="2700000" scaled="1"/>
            </a:grad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bg1"/>
                  </a:solidFill>
                </a:rPr>
                <a:t>Full Surrender Charge</a:t>
              </a: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064ACB5-48E8-489F-8454-32C74D5C9DBD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681808" y="5292702"/>
              <a:ext cx="2245622" cy="0"/>
            </a:xfrm>
            <a:prstGeom prst="line">
              <a:avLst/>
            </a:prstGeom>
            <a:noFill/>
            <a:ln w="38100" algn="ctr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5" name="Rounded Rectangle 15">
              <a:extLst>
                <a:ext uri="{FF2B5EF4-FFF2-40B4-BE49-F238E27FC236}">
                  <a16:creationId xmlns:a16="http://schemas.microsoft.com/office/drawing/2014/main" id="{809D7F03-39DC-4EA3-8B1A-15C6920BD1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61807" y="5388824"/>
              <a:ext cx="2085624" cy="505494"/>
            </a:xfrm>
            <a:prstGeom prst="roundRect">
              <a:avLst>
                <a:gd name="adj" fmla="val 16667"/>
              </a:avLst>
            </a:prstGeom>
            <a:gradFill rotWithShape="0">
              <a:gsLst>
                <a:gs pos="0">
                  <a:srgbClr val="006AB6"/>
                </a:gs>
                <a:gs pos="100000">
                  <a:srgbClr val="1C3958"/>
                </a:gs>
              </a:gsLst>
              <a:lin ang="2700000" scaled="1"/>
            </a:gradFill>
            <a:ln w="38100" algn="ctr">
              <a:solidFill>
                <a:schemeClr val="bg1"/>
              </a:solidFill>
              <a:round/>
              <a:headEnd/>
              <a:tailEnd/>
            </a:ln>
          </p:spPr>
          <p:txBody>
            <a:bodyPr lIns="0" tIns="0" rIns="0" bIns="0" anchor="ctr" anchorCtr="1"/>
            <a:lstStyle>
              <a:defPPr>
                <a:defRPr lang="en-US"/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5pPr>
              <a:lvl6pPr marL="22860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6pPr>
              <a:lvl7pPr marL="27432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7pPr>
              <a:lvl8pPr marL="32004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8pPr>
              <a:lvl9pPr marL="3657600" algn="l" defTabSz="914400" rtl="0" eaLnBrk="1" latinLnBrk="0" hangingPunct="1">
                <a:defRPr sz="3200" kern="12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1200" b="1">
                  <a:solidFill>
                    <a:schemeClr val="bg1"/>
                  </a:solidFill>
                </a:rPr>
                <a:t>Full Surrender Valu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881509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6D9E6A1-FD57-498B-BA97-23E5E65447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7F51556-BE13-478C-AB54-FFE3DFD806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11624" y="764704"/>
            <a:ext cx="6624736" cy="5776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240085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B5BEE91-5E42-447B-8D1D-C01E0C55C9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5" name="Text Box 4">
            <a:extLst>
              <a:ext uri="{FF2B5EF4-FFF2-40B4-BE49-F238E27FC236}">
                <a16:creationId xmlns:a16="http://schemas.microsoft.com/office/drawing/2014/main" id="{D4FFF168-BD0F-4035-8C82-FE441EC329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43472" y="2852936"/>
            <a:ext cx="9001000" cy="1730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90000" bIns="90000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7200" dirty="0">
                <a:solidFill>
                  <a:srgbClr val="006AB6"/>
                </a:solidFill>
              </a:rPr>
              <a:t>Thank You</a:t>
            </a:r>
          </a:p>
          <a:p>
            <a:pPr algn="ctr" eaLnBrk="1" hangingPunct="1">
              <a:lnSpc>
                <a:spcPts val="2400"/>
              </a:lnSpc>
              <a:spcBef>
                <a:spcPct val="0"/>
              </a:spcBef>
              <a:buFontTx/>
              <a:buNone/>
            </a:pPr>
            <a:endParaRPr lang="en-US" altLang="en-US" sz="7200" dirty="0">
              <a:solidFill>
                <a:srgbClr val="006AB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26278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40D72ED-D69D-4CDE-8F10-DB3415B7C0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" r="14651" b="10778"/>
          <a:stretch/>
        </p:blipFill>
        <p:spPr bwMode="auto">
          <a:xfrm>
            <a:off x="6096000" y="-27385"/>
            <a:ext cx="6096001" cy="6264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D7CB349-865C-4DA3-A3FB-C79BCDEF9D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319" y="332656"/>
            <a:ext cx="4846593" cy="5551309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2800" dirty="0"/>
              <a:t>With Investor Advantage you get </a:t>
            </a:r>
            <a:r>
              <a:rPr lang="en-US" altLang="en-US" sz="2800" dirty="0">
                <a:solidFill>
                  <a:schemeClr val="tx1"/>
                </a:solidFill>
              </a:rPr>
              <a:t>an investment opportunity that will help you maximize on your today’s ability to save for the future you are dreaming of.</a:t>
            </a:r>
            <a:br>
              <a:rPr lang="en-US" altLang="en-US" sz="2800" dirty="0">
                <a:solidFill>
                  <a:schemeClr val="tx1"/>
                </a:solidFill>
              </a:rPr>
            </a:b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936857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BC352D-4101-495B-88D3-F3B78BDED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74DD1A7-6B0B-49D7-A501-837706BF5BC8}"/>
              </a:ext>
            </a:extLst>
          </p:cNvPr>
          <p:cNvSpPr>
            <a:spLocks noGrp="1" noChangeArrowheads="1"/>
          </p:cNvSpPr>
          <p:nvPr/>
        </p:nvSpPr>
        <p:spPr bwMode="auto">
          <a:xfrm>
            <a:off x="191344" y="116633"/>
            <a:ext cx="8139113" cy="65707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t">
            <a:no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+mj-lt"/>
                <a:ea typeface="ＭＳ Ｐゴシック" pitchFamily="34" charset="-128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  <a:ea typeface="ＭＳ Ｐゴシック" pitchFamily="34" charset="-128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  <a:ea typeface="ＭＳ Ｐゴシック" pitchFamily="34" charset="-128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  <a:ea typeface="ＭＳ Ｐゴシック" pitchFamily="34" charset="-128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  <a:ea typeface="ＭＳ Ｐゴシック" pitchFamily="34" charset="-128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</a:defRPr>
            </a:lvl9pPr>
          </a:lstStyle>
          <a:p>
            <a:pPr defTabSz="914377">
              <a:lnSpc>
                <a:spcPct val="90000"/>
              </a:lnSpc>
            </a:pPr>
            <a:r>
              <a:rPr lang="en-US" altLang="en-US" sz="3733" b="1" dirty="0">
                <a:solidFill>
                  <a:schemeClr val="tx1"/>
                </a:solidFill>
                <a:latin typeface="Georgia" charset="0"/>
              </a:rPr>
              <a:t>How The Plan Work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A807AB-04C7-4E67-8A4D-1B5D8A3F13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1424" y="764704"/>
            <a:ext cx="10369152" cy="595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r>
              <a:rPr lang="en-US" sz="1600" b="1" dirty="0"/>
              <a:t>Envision the Financial Dream you would like to achieve</a:t>
            </a:r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r>
              <a:rPr lang="en-US" sz="1600" b="1" dirty="0"/>
              <a:t>Customize your </a:t>
            </a:r>
            <a:r>
              <a:rPr lang="en-US" sz="1600" b="1" dirty="0">
                <a:solidFill>
                  <a:srgbClr val="0070C0"/>
                </a:solidFill>
              </a:rPr>
              <a:t>Investor Advantage </a:t>
            </a:r>
            <a:r>
              <a:rPr lang="en-US" sz="1600" b="1" dirty="0"/>
              <a:t>Plan to suit your financial aspirations by selecting the:</a:t>
            </a:r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endParaRPr lang="en-US" sz="1600" b="1" dirty="0"/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endParaRPr lang="en-US" sz="1600" b="1" dirty="0"/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endParaRPr lang="en-US" sz="1600" b="1" dirty="0"/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endParaRPr lang="en-US" sz="1600" b="1" dirty="0"/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endParaRPr lang="en-US" sz="1600" b="1" dirty="0"/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endParaRPr lang="en-US" sz="1600" b="1" dirty="0"/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endParaRPr lang="en-US" sz="1600" b="1" dirty="0"/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endParaRPr lang="en-US" sz="1600" b="1" dirty="0"/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endParaRPr lang="en-US" sz="1600" b="1" dirty="0"/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endParaRPr lang="en-US" sz="1600" b="1" dirty="0"/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endParaRPr lang="en-US" sz="1600" b="1" dirty="0"/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endParaRPr lang="en-US" sz="1600" b="1" dirty="0"/>
          </a:p>
          <a:p>
            <a:pPr marL="342900" indent="-342900" eaLnBrk="1" hangingPunct="1">
              <a:lnSpc>
                <a:spcPct val="150000"/>
              </a:lnSpc>
              <a:buClr>
                <a:srgbClr val="0070C0"/>
              </a:buClr>
              <a:buFont typeface="+mj-lt"/>
              <a:buAutoNum type="arabicPeriod"/>
              <a:defRPr/>
            </a:pPr>
            <a:r>
              <a:rPr lang="en-US" sz="1600" b="1" dirty="0"/>
              <a:t>At Maturity, access your accumulated funds and make your dreams a reality! </a:t>
            </a:r>
          </a:p>
          <a:p>
            <a:pPr marL="800100" lvl="2" indent="-342900" eaLnBrk="1" hangingPunct="1">
              <a:lnSpc>
                <a:spcPct val="150000"/>
              </a:lnSpc>
              <a:buClr>
                <a:srgbClr val="0070C0"/>
              </a:buClr>
              <a:buSzPct val="50000"/>
              <a:buFont typeface="+mj-lt"/>
              <a:buAutoNum type="arabicPeriod"/>
              <a:defRPr/>
            </a:pPr>
            <a:endParaRPr lang="en-US" sz="1600" b="1" dirty="0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003C3F5C-12ED-450F-9607-40EC9300AA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2022426"/>
              </p:ext>
            </p:extLst>
          </p:nvPr>
        </p:nvGraphicFramePr>
        <p:xfrm>
          <a:off x="1919536" y="2002324"/>
          <a:ext cx="7776864" cy="301085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888432">
                  <a:extLst>
                    <a:ext uri="{9D8B030D-6E8A-4147-A177-3AD203B41FA5}">
                      <a16:colId xmlns:a16="http://schemas.microsoft.com/office/drawing/2014/main" val="2762396841"/>
                    </a:ext>
                  </a:extLst>
                </a:gridCol>
                <a:gridCol w="3888432">
                  <a:extLst>
                    <a:ext uri="{9D8B030D-6E8A-4147-A177-3AD203B41FA5}">
                      <a16:colId xmlns:a16="http://schemas.microsoft.com/office/drawing/2014/main" val="2865032450"/>
                    </a:ext>
                  </a:extLst>
                </a:gridCol>
              </a:tblGrid>
              <a:tr h="600392">
                <a:tc>
                  <a:txBody>
                    <a:bodyPr/>
                    <a:lstStyle/>
                    <a:p>
                      <a:r>
                        <a:rPr lang="en-US" sz="1800" dirty="0"/>
                        <a:t>Fea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Detai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42542053"/>
                  </a:ext>
                </a:extLst>
              </a:tr>
              <a:tr h="600392">
                <a:tc>
                  <a:txBody>
                    <a:bodyPr/>
                    <a:lstStyle/>
                    <a:p>
                      <a:r>
                        <a:rPr lang="en-US" sz="1400" dirty="0"/>
                        <a:t>Contribution Perio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12,24,36 or 48 month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75053114"/>
                  </a:ext>
                </a:extLst>
              </a:tr>
              <a:tr h="600392">
                <a:tc>
                  <a:txBody>
                    <a:bodyPr/>
                    <a:lstStyle/>
                    <a:p>
                      <a:r>
                        <a:rPr lang="en-US" sz="1400" dirty="0"/>
                        <a:t>Payment Mod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onthly or Annual 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48194953"/>
                  </a:ext>
                </a:extLst>
              </a:tr>
              <a:tr h="600392">
                <a:tc>
                  <a:txBody>
                    <a:bodyPr/>
                    <a:lstStyle/>
                    <a:p>
                      <a:r>
                        <a:rPr lang="en-US" sz="1400" dirty="0"/>
                        <a:t>Curr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USA, GBP or Eur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0174886"/>
                  </a:ext>
                </a:extLst>
              </a:tr>
              <a:tr h="609282">
                <a:tc>
                  <a:txBody>
                    <a:bodyPr/>
                    <a:lstStyle/>
                    <a:p>
                      <a:r>
                        <a:rPr lang="en-US" sz="1400" dirty="0"/>
                        <a:t>Investment Strateg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Conservative, Balanced or Aggressiv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766515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9895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B36C6B1-3C10-4B14-BA6A-6B4D9FF99F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6419" y="1380247"/>
            <a:ext cx="7179742" cy="4281001"/>
          </a:xfrm>
        </p:spPr>
        <p:txBody>
          <a:bodyPr/>
          <a:lstStyle/>
          <a:p>
            <a:pPr marL="285750" indent="-285750">
              <a:lnSpc>
                <a:spcPct val="200000"/>
              </a:lnSpc>
              <a:spcBef>
                <a:spcPct val="0"/>
              </a:spcBef>
              <a:spcAft>
                <a:spcPct val="20000"/>
              </a:spcAft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altLang="en-US" sz="1600" dirty="0"/>
              <a:t>Variable Universal Life product written to mature at age 95</a:t>
            </a:r>
          </a:p>
          <a:p>
            <a:pPr marL="285750" indent="-285750">
              <a:lnSpc>
                <a:spcPct val="200000"/>
              </a:lnSpc>
              <a:spcBef>
                <a:spcPct val="0"/>
              </a:spcBef>
              <a:spcAft>
                <a:spcPct val="20000"/>
              </a:spcAft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GB" altLang="en-US" sz="1600" dirty="0"/>
              <a:t>Can be sold to Both Resident and Non-Residents </a:t>
            </a:r>
          </a:p>
          <a:p>
            <a:pPr marL="285750" indent="-285750">
              <a:lnSpc>
                <a:spcPct val="200000"/>
              </a:lnSpc>
              <a:spcBef>
                <a:spcPct val="0"/>
              </a:spcBef>
              <a:spcAft>
                <a:spcPct val="20000"/>
              </a:spcAft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altLang="en-US" sz="1600" dirty="0"/>
              <a:t>Premiums are payable for a fixed term </a:t>
            </a:r>
            <a:r>
              <a:rPr lang="en-US" altLang="en-US" sz="1400" dirty="0"/>
              <a:t>(1 year, 2 years, 3 years and 4 years)</a:t>
            </a:r>
          </a:p>
          <a:p>
            <a:pPr marL="285750" indent="-285750">
              <a:lnSpc>
                <a:spcPct val="200000"/>
              </a:lnSpc>
              <a:spcBef>
                <a:spcPct val="0"/>
              </a:spcBef>
              <a:spcAft>
                <a:spcPct val="20000"/>
              </a:spcAft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altLang="en-US" sz="1600" dirty="0"/>
              <a:t>Plan with a strong investment focus where the death benefit  is 101% of the Account Value</a:t>
            </a:r>
          </a:p>
          <a:p>
            <a:pPr marL="285750" indent="-285750">
              <a:lnSpc>
                <a:spcPct val="200000"/>
              </a:lnSpc>
              <a:spcBef>
                <a:spcPct val="0"/>
              </a:spcBef>
              <a:spcAft>
                <a:spcPct val="20000"/>
              </a:spcAft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altLang="en-US" sz="1600" dirty="0"/>
              <a:t>Free partial withdrawals allowed (subject to limitations)</a:t>
            </a:r>
          </a:p>
          <a:p>
            <a:pPr marL="285750" indent="-285750">
              <a:lnSpc>
                <a:spcPct val="200000"/>
              </a:lnSpc>
              <a:spcBef>
                <a:spcPct val="0"/>
              </a:spcBef>
              <a:spcAft>
                <a:spcPct val="20000"/>
              </a:spcAft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altLang="en-US" sz="1600" dirty="0"/>
              <a:t>Lump sum benefits payable on maturity, loss of life, or surrender </a:t>
            </a:r>
            <a:r>
              <a:rPr lang="en-US" altLang="en-US" sz="1400" dirty="0"/>
              <a:t>(based on the Account Value of the policy)</a:t>
            </a:r>
          </a:p>
          <a:p>
            <a:pPr marL="285750" indent="-285750">
              <a:lnSpc>
                <a:spcPct val="200000"/>
              </a:lnSpc>
              <a:spcBef>
                <a:spcPct val="0"/>
              </a:spcBef>
              <a:spcAft>
                <a:spcPct val="20000"/>
              </a:spcAft>
              <a:buClr>
                <a:srgbClr val="0070C0"/>
              </a:buClr>
              <a:buFont typeface="Wingdings" panose="05000000000000000000" pitchFamily="2" charset="2"/>
              <a:buChar char="Ø"/>
            </a:pPr>
            <a:r>
              <a:rPr lang="en-US" altLang="en-US" sz="1600" dirty="0"/>
              <a:t>Annualized First year commission </a:t>
            </a:r>
            <a:r>
              <a:rPr lang="en-US" altLang="en-US" sz="1400" dirty="0"/>
              <a:t>(function of the premium paying term)</a:t>
            </a:r>
            <a:endParaRPr lang="en-US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64E489-6669-4069-8053-D0871F7BDC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 at a glan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4CAF000-1452-4ACC-8142-46EBC51510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89986D9-ED06-4BF8-A6E4-BD0A961E01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501"/>
          <a:stretch>
            <a:fillRect/>
          </a:stretch>
        </p:blipFill>
        <p:spPr bwMode="auto">
          <a:xfrm>
            <a:off x="8064233" y="995461"/>
            <a:ext cx="4127767" cy="55079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328472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483C3E-8E99-41B9-8821-37DEA05A8B3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319" y="764704"/>
            <a:ext cx="5375157" cy="5428352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ct val="20000"/>
              </a:spcAft>
            </a:pPr>
            <a:r>
              <a:rPr lang="en-GB" altLang="en-US" sz="2400" dirty="0"/>
              <a:t>Choice between 3 fundamental investment strategies: Conservative, Balanced and Aggressive</a:t>
            </a:r>
            <a:br>
              <a:rPr lang="en-GB" altLang="en-US" sz="2400" dirty="0"/>
            </a:br>
            <a:r>
              <a:rPr lang="en-GB" altLang="en-US" sz="2400" dirty="0"/>
              <a:t>Up to 180+ direct funds to select from</a:t>
            </a:r>
            <a:br>
              <a:rPr lang="en-GB" altLang="en-US" sz="2400" dirty="0"/>
            </a:br>
            <a:r>
              <a:rPr lang="en-GB" altLang="en-US" sz="2400" dirty="0"/>
              <a:t>Free Premium Redirection</a:t>
            </a:r>
            <a:br>
              <a:rPr lang="en-GB" altLang="en-US" sz="2400" dirty="0"/>
            </a:br>
            <a:r>
              <a:rPr lang="en-GB" altLang="en-US" sz="2400" dirty="0"/>
              <a:t>Free Un-Limited Switches</a:t>
            </a:r>
            <a:br>
              <a:rPr lang="en-GB" altLang="en-US" sz="2400" dirty="0"/>
            </a:br>
            <a:endParaRPr lang="en-US" sz="2400" dirty="0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3DF6276-3582-468C-881C-56943333143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9BBFC3-ADAF-44B9-98D6-04B04C5BE90F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87125" y="6415088"/>
            <a:ext cx="904875" cy="365125"/>
          </a:xfrm>
          <a:prstGeom prst="rect">
            <a:avLst/>
          </a:prstGeom>
        </p:spPr>
        <p:txBody>
          <a:bodyPr/>
          <a:lstStyle/>
          <a:p>
            <a:fld id="{3A5D2E96-09D4-684C-BDED-6024B7F4284C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72F119-46A9-46FA-B61B-CBF08F358C8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24"/>
          <a:stretch/>
        </p:blipFill>
        <p:spPr bwMode="auto">
          <a:xfrm>
            <a:off x="6087075" y="0"/>
            <a:ext cx="6104926" cy="6217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4ED0A18-D908-407E-B79F-FA39D934DC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336" y="44624"/>
            <a:ext cx="5713139" cy="8350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68580" tIns="34290" rIns="68580" bIns="34290" rtlCol="0" anchor="t">
            <a:noAutofit/>
          </a:bodyPr>
          <a:lstStyle>
            <a:defPPr>
              <a:defRPr lang="en-US"/>
            </a:defPPr>
            <a:lvl1pPr defTabSz="914377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33" b="1">
                <a:latin typeface="Georgia" charset="0"/>
                <a:ea typeface="ＭＳ Ｐゴシック" pitchFamily="34" charset="-128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  <a:ea typeface="ＭＳ Ｐゴシック" pitchFamily="34" charset="-128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  <a:ea typeface="ＭＳ Ｐゴシック" pitchFamily="34" charset="-128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  <a:ea typeface="ＭＳ Ｐゴシック" pitchFamily="34" charset="-128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  <a:ea typeface="ＭＳ Ｐゴシック" pitchFamily="34" charset="-128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B6"/>
                </a:solidFill>
                <a:latin typeface="Arial" charset="0"/>
              </a:defRPr>
            </a:lvl9pPr>
          </a:lstStyle>
          <a:p>
            <a:r>
              <a:rPr lang="en-US" altLang="en-US" dirty="0"/>
              <a:t>Investment Choices</a:t>
            </a:r>
          </a:p>
        </p:txBody>
      </p:sp>
    </p:spTree>
    <p:extLst>
      <p:ext uri="{BB962C8B-B14F-4D97-AF65-F5344CB8AC3E}">
        <p14:creationId xmlns:p14="http://schemas.microsoft.com/office/powerpoint/2010/main" val="175097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able">
            <a:extLst>
              <a:ext uri="{FF2B5EF4-FFF2-40B4-BE49-F238E27FC236}">
                <a16:creationId xmlns:a16="http://schemas.microsoft.com/office/drawing/2014/main" id="{318DAD38-CA37-428E-98A4-EB94431D533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1081" y="1198711"/>
            <a:ext cx="6573054" cy="2699071"/>
          </a:xfrm>
          <a:prstGeom prst="rect">
            <a:avLst/>
          </a:prstGeom>
        </p:spPr>
      </p:pic>
      <p:pic>
        <p:nvPicPr>
          <p:cNvPr id="8" name="table">
            <a:extLst>
              <a:ext uri="{FF2B5EF4-FFF2-40B4-BE49-F238E27FC236}">
                <a16:creationId xmlns:a16="http://schemas.microsoft.com/office/drawing/2014/main" id="{2884F345-C757-45C1-9AB6-ECE4670E47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5530" y="4052242"/>
            <a:ext cx="6610830" cy="204105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9E34456-560D-4200-AE2A-E2663E978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 Benefits</a:t>
            </a:r>
          </a:p>
        </p:txBody>
      </p:sp>
    </p:spTree>
    <p:extLst>
      <p:ext uri="{BB962C8B-B14F-4D97-AF65-F5344CB8AC3E}">
        <p14:creationId xmlns:p14="http://schemas.microsoft.com/office/powerpoint/2010/main" val="15996111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FBC55F-380F-46CD-977A-31BEA824CE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 benefits- continu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8AA29C6-6358-447E-96F5-3EAB106C5E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9" name="table">
            <a:extLst>
              <a:ext uri="{FF2B5EF4-FFF2-40B4-BE49-F238E27FC236}">
                <a16:creationId xmlns:a16="http://schemas.microsoft.com/office/drawing/2014/main" id="{F31C76EA-EF67-414F-AD1E-29F5685903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7448" y="1335332"/>
            <a:ext cx="6298753" cy="4290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8641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1864E47-6AEE-4DBB-AD61-E784FB8A4E2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52055" y="2450306"/>
            <a:ext cx="1814512" cy="3119438"/>
          </a:xfrm>
          <a:prstGeom prst="rect">
            <a:avLst/>
          </a:prstGeom>
          <a:gradFill rotWithShape="0">
            <a:gsLst>
              <a:gs pos="0">
                <a:srgbClr val="006AB6">
                  <a:alpha val="89000"/>
                </a:srgbClr>
              </a:gs>
              <a:gs pos="99000">
                <a:srgbClr val="003154">
                  <a:alpha val="56000"/>
                </a:srgbClr>
              </a:gs>
            </a:gsLst>
            <a:lin ang="0" scaled="1"/>
          </a:gradFill>
          <a:ln>
            <a:noFill/>
          </a:ln>
        </p:spPr>
        <p:txBody>
          <a:bodyPr tIns="182880" bIns="18288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eaLnBrk="1" hangingPunct="1">
              <a:defRPr/>
            </a:pPr>
            <a:endParaRPr lang="en-US" sz="1200" b="1" dirty="0">
              <a:solidFill>
                <a:schemeClr val="bg1"/>
              </a:solidFill>
              <a:ea typeface="MS PGothic" pitchFamily="34" charset="-128"/>
            </a:endParaRPr>
          </a:p>
          <a:p>
            <a:pPr marL="115888" indent="-115888" eaLnBrk="1" hangingPunct="1"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chemeClr val="bg1"/>
                </a:solidFill>
                <a:ea typeface="MS PGothic" pitchFamily="34" charset="-128"/>
              </a:rPr>
              <a:t>Based on the premium payment term  &amp; policy year &amp; is applied on Basic Planned Premium.</a:t>
            </a:r>
          </a:p>
          <a:p>
            <a:pPr marL="115888" indent="-115888" eaLnBrk="1" hangingPunct="1">
              <a:buFont typeface="Arial" pitchFamily="34" charset="0"/>
              <a:buChar char="•"/>
              <a:defRPr/>
            </a:pPr>
            <a:endParaRPr lang="en-US" sz="1200" b="1" dirty="0">
              <a:solidFill>
                <a:schemeClr val="bg1"/>
              </a:solidFill>
              <a:ea typeface="MS PGothic" pitchFamily="34" charset="-128"/>
            </a:endParaRPr>
          </a:p>
          <a:p>
            <a:pPr marL="115888" indent="-115888" eaLnBrk="1" hangingPunct="1"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chemeClr val="bg1"/>
                </a:solidFill>
                <a:ea typeface="MS PGothic" pitchFamily="34" charset="-128"/>
              </a:rPr>
              <a:t>It’s a monthly charge taken from account value. </a:t>
            </a:r>
            <a:br>
              <a:rPr lang="en-US" sz="1200" b="1" dirty="0">
                <a:solidFill>
                  <a:schemeClr val="bg1"/>
                </a:solidFill>
                <a:ea typeface="MS PGothic" pitchFamily="34" charset="-128"/>
              </a:rPr>
            </a:br>
            <a:r>
              <a:rPr lang="en-US" sz="1200" b="1" dirty="0">
                <a:solidFill>
                  <a:schemeClr val="bg1"/>
                </a:solidFill>
                <a:ea typeface="MS PGothic" pitchFamily="34" charset="-128"/>
              </a:rPr>
              <a:t>(annual charge divided by 12 )</a:t>
            </a:r>
            <a:endParaRPr lang="en-US" sz="1200" dirty="0">
              <a:solidFill>
                <a:schemeClr val="bg1"/>
              </a:solidFill>
              <a:ea typeface="MS PGothic" pitchFamily="34" charset="-128"/>
            </a:endParaRPr>
          </a:p>
          <a:p>
            <a:pPr eaLnBrk="1" hangingPunct="1">
              <a:defRPr/>
            </a:pPr>
            <a:r>
              <a:rPr lang="en-US" sz="1200" dirty="0">
                <a:ea typeface="MS PGothic" pitchFamily="34" charset="-128"/>
              </a:rPr>
              <a:t>.</a:t>
            </a:r>
            <a:endParaRPr lang="en-US" sz="1200" b="1" dirty="0">
              <a:solidFill>
                <a:schemeClr val="accent3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F256CE6-555A-4421-9FCB-1AEEBAE750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52055" y="1169194"/>
            <a:ext cx="1814512" cy="552450"/>
          </a:xfrm>
          <a:prstGeom prst="rect">
            <a:avLst/>
          </a:prstGeom>
          <a:gradFill rotWithShape="1">
            <a:gsLst>
              <a:gs pos="0">
                <a:srgbClr val="3D3C33">
                  <a:alpha val="89000"/>
                </a:srgbClr>
              </a:gs>
              <a:gs pos="100000">
                <a:srgbClr val="84816E">
                  <a:alpha val="56000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tIns="182880" bIns="18288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en-US" altLang="en-US" sz="1600" b="1">
                <a:solidFill>
                  <a:srgbClr val="FFFFFF"/>
                </a:solidFill>
                <a:latin typeface="Arial Narrow" panose="020B0606020202030204" pitchFamily="34" charset="0"/>
              </a:rPr>
              <a:t>Premium</a:t>
            </a:r>
          </a:p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en-US" altLang="en-US" sz="1600" b="1">
                <a:solidFill>
                  <a:srgbClr val="FFFFFF"/>
                </a:solidFill>
                <a:latin typeface="Arial Narrow" panose="020B0606020202030204" pitchFamily="34" charset="0"/>
              </a:rPr>
              <a:t>Charg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22E358-9413-4693-8719-4466A76CD8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7542" y="1169194"/>
            <a:ext cx="1812925" cy="552450"/>
          </a:xfrm>
          <a:prstGeom prst="rect">
            <a:avLst/>
          </a:prstGeom>
          <a:gradFill rotWithShape="1">
            <a:gsLst>
              <a:gs pos="0">
                <a:srgbClr val="3D3C33">
                  <a:alpha val="89000"/>
                </a:srgbClr>
              </a:gs>
              <a:gs pos="100000">
                <a:srgbClr val="84816E">
                  <a:alpha val="56000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tIns="182880" bIns="18288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en-US" altLang="en-US" sz="1600" b="1">
                <a:solidFill>
                  <a:srgbClr val="FFFFFF"/>
                </a:solidFill>
                <a:latin typeface="Arial Narrow" panose="020B0606020202030204" pitchFamily="34" charset="0"/>
              </a:rPr>
              <a:t>M &amp; E </a:t>
            </a:r>
          </a:p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en-US" altLang="en-US" sz="1600" b="1">
                <a:solidFill>
                  <a:srgbClr val="FFFFFF"/>
                </a:solidFill>
                <a:latin typeface="Arial Narrow" panose="020B0606020202030204" pitchFamily="34" charset="0"/>
              </a:rPr>
              <a:t>Charge</a:t>
            </a:r>
          </a:p>
        </p:txBody>
      </p:sp>
      <p:sp>
        <p:nvSpPr>
          <p:cNvPr id="9" name="Right Arrow 5">
            <a:extLst>
              <a:ext uri="{FF2B5EF4-FFF2-40B4-BE49-F238E27FC236}">
                <a16:creationId xmlns:a16="http://schemas.microsoft.com/office/drawing/2014/main" id="{6939DF09-3992-498F-B52A-8C03DC8A67C4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3339430" y="1799431"/>
            <a:ext cx="596900" cy="70485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3200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D3F3D3E-5311-4E6E-A63F-9E4991F82F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47543" y="2450306"/>
            <a:ext cx="1812925" cy="3119438"/>
          </a:xfrm>
          <a:prstGeom prst="rect">
            <a:avLst/>
          </a:prstGeom>
          <a:gradFill rotWithShape="0">
            <a:gsLst>
              <a:gs pos="0">
                <a:srgbClr val="006AB6">
                  <a:alpha val="89000"/>
                </a:srgbClr>
              </a:gs>
              <a:gs pos="99000">
                <a:srgbClr val="003154">
                  <a:alpha val="56000"/>
                </a:srgbClr>
              </a:gs>
            </a:gsLst>
            <a:lin ang="0" scaled="1"/>
          </a:gradFill>
          <a:ln>
            <a:noFill/>
          </a:ln>
        </p:spPr>
        <p:txBody>
          <a:bodyPr tIns="182880" bIns="18288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eaLnBrk="1" hangingPunct="1">
              <a:defRPr/>
            </a:pPr>
            <a:endParaRPr lang="en-US" sz="1400" b="1" dirty="0">
              <a:solidFill>
                <a:schemeClr val="bg1"/>
              </a:solidFill>
              <a:ea typeface="MS PGothic" pitchFamily="34" charset="-128"/>
            </a:endParaRPr>
          </a:p>
          <a:p>
            <a:pPr marL="231775" indent="-231775" eaLnBrk="1" hangingPunct="1"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chemeClr val="bg1"/>
                </a:solidFill>
                <a:ea typeface="MS PGothic" pitchFamily="34" charset="-128"/>
              </a:rPr>
              <a:t>M&amp;E Charge is a percentage of the Account Value, where the %</a:t>
            </a:r>
          </a:p>
          <a:p>
            <a:pPr marL="231775" indent="-231775" eaLnBrk="1" hangingPunct="1"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chemeClr val="bg1"/>
                </a:solidFill>
                <a:ea typeface="MS PGothic" pitchFamily="34" charset="-128"/>
              </a:rPr>
              <a:t>depends on the policy year and account value</a:t>
            </a:r>
            <a:endParaRPr lang="en-US" sz="1200" dirty="0">
              <a:ea typeface="MS PGothic" pitchFamily="34" charset="-128"/>
            </a:endParaRPr>
          </a:p>
          <a:p>
            <a:pPr marL="231775" indent="-231775" eaLnBrk="1" hangingPunct="1">
              <a:buFont typeface="Arial" pitchFamily="34" charset="0"/>
              <a:buChar char="•"/>
              <a:defRPr/>
            </a:pPr>
            <a:endParaRPr lang="en-US" sz="1200" b="1" dirty="0">
              <a:solidFill>
                <a:schemeClr val="accent3"/>
              </a:solidFill>
            </a:endParaRPr>
          </a:p>
          <a:p>
            <a:pPr marL="231775" indent="-231775" eaLnBrk="1" hangingPunct="1"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chemeClr val="bg1"/>
                </a:solidFill>
                <a:ea typeface="MS PGothic" pitchFamily="34" charset="-128"/>
              </a:rPr>
              <a:t>Deducted from the Account Value at the start of each policy month (annual charge divided by 12 )</a:t>
            </a:r>
          </a:p>
          <a:p>
            <a:pPr eaLnBrk="1" hangingPunct="1">
              <a:defRPr/>
            </a:pP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11" name="Right Arrow 5">
            <a:extLst>
              <a:ext uri="{FF2B5EF4-FFF2-40B4-BE49-F238E27FC236}">
                <a16:creationId xmlns:a16="http://schemas.microsoft.com/office/drawing/2014/main" id="{A35BA608-C2A8-4482-AC8B-BC6B6905E73A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5355555" y="1799431"/>
            <a:ext cx="596900" cy="70485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32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874C528-4E01-4B24-9311-4B9798D13B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1767" y="2450306"/>
            <a:ext cx="1812925" cy="3119438"/>
          </a:xfrm>
          <a:prstGeom prst="rect">
            <a:avLst/>
          </a:prstGeom>
          <a:gradFill rotWithShape="0">
            <a:gsLst>
              <a:gs pos="0">
                <a:srgbClr val="006AB6">
                  <a:alpha val="89000"/>
                </a:srgbClr>
              </a:gs>
              <a:gs pos="100000">
                <a:srgbClr val="003154">
                  <a:alpha val="56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182880" bIns="18288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marL="171450" indent="-171450" eaLnBrk="1" hangingPunct="1"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chemeClr val="bg1"/>
                </a:solidFill>
                <a:ea typeface="MS PGothic" pitchFamily="34" charset="-128"/>
              </a:rPr>
              <a:t>The premium load on the Excess Premiums is 3%, applied to each Excess Premium</a:t>
            </a:r>
          </a:p>
          <a:p>
            <a:pPr marL="171450" indent="-171450" eaLnBrk="1" hangingPunct="1"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chemeClr val="bg1"/>
                </a:solidFill>
                <a:ea typeface="MS PGothic" pitchFamily="34" charset="-128"/>
              </a:rPr>
              <a:t>received during the first 10 policy years only</a:t>
            </a:r>
            <a:r>
              <a:rPr lang="en-US" sz="1200" dirty="0">
                <a:ea typeface="MS PGothic" pitchFamily="34" charset="-128"/>
              </a:rPr>
              <a:t>.</a:t>
            </a:r>
          </a:p>
          <a:p>
            <a:pPr marL="171450" indent="-171450" eaLnBrk="1" hangingPunct="1">
              <a:buFont typeface="Arial" pitchFamily="34" charset="0"/>
              <a:buChar char="•"/>
              <a:defRPr/>
            </a:pPr>
            <a:endParaRPr lang="en-US" sz="1200" b="1" dirty="0">
              <a:solidFill>
                <a:schemeClr val="accent3"/>
              </a:solidFill>
            </a:endParaRPr>
          </a:p>
          <a:p>
            <a:pPr marL="171450" indent="-171450" eaLnBrk="1" hangingPunct="1">
              <a:buFont typeface="Arial" pitchFamily="34" charset="0"/>
              <a:buChar char="•"/>
              <a:defRPr/>
            </a:pPr>
            <a:r>
              <a:rPr lang="en-US" sz="1200" b="1" dirty="0">
                <a:solidFill>
                  <a:schemeClr val="bg1"/>
                </a:solidFill>
                <a:ea typeface="MS PGothic" pitchFamily="34" charset="-128"/>
              </a:rPr>
              <a:t>There is no Premium Load for Basic Planned Premium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3" name="Right Arrow 5">
            <a:extLst>
              <a:ext uri="{FF2B5EF4-FFF2-40B4-BE49-F238E27FC236}">
                <a16:creationId xmlns:a16="http://schemas.microsoft.com/office/drawing/2014/main" id="{B172B67C-C8D4-4882-A5D5-71E1F0B6CFC3}"/>
              </a:ext>
            </a:extLst>
          </p:cNvPr>
          <p:cNvSpPr>
            <a:spLocks noChangeArrowheads="1"/>
          </p:cNvSpPr>
          <p:nvPr/>
        </p:nvSpPr>
        <p:spPr bwMode="auto">
          <a:xfrm rot="5400000">
            <a:off x="7409780" y="1799431"/>
            <a:ext cx="596900" cy="704850"/>
          </a:xfrm>
          <a:prstGeom prst="rightArrow">
            <a:avLst>
              <a:gd name="adj1" fmla="val 50000"/>
              <a:gd name="adj2" fmla="val 50000"/>
            </a:avLst>
          </a:prstGeom>
          <a:solidFill>
            <a:srgbClr val="FF99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en-US" sz="32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F0C80F7-554B-436F-8814-1C51FF6651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44617" y="1169194"/>
            <a:ext cx="1841500" cy="552450"/>
          </a:xfrm>
          <a:prstGeom prst="rect">
            <a:avLst/>
          </a:prstGeom>
          <a:gradFill rotWithShape="1">
            <a:gsLst>
              <a:gs pos="0">
                <a:srgbClr val="3D3C33">
                  <a:alpha val="89000"/>
                </a:srgbClr>
              </a:gs>
              <a:gs pos="100000">
                <a:srgbClr val="84816E">
                  <a:alpha val="56000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tIns="182880" bIns="18288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algn="ctr"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en-US" altLang="en-US" sz="1600" b="1">
                <a:solidFill>
                  <a:srgbClr val="FFFFFF"/>
                </a:solidFill>
                <a:latin typeface="Arial Narrow" panose="020B0606020202030204" pitchFamily="34" charset="0"/>
              </a:rPr>
              <a:t>Premium Load (Excess Premium)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1E1AD0F-1413-4747-AFDB-4BE6AB01C7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52055" y="5772944"/>
            <a:ext cx="1814512" cy="642937"/>
          </a:xfrm>
          <a:prstGeom prst="rect">
            <a:avLst/>
          </a:prstGeom>
          <a:gradFill rotWithShape="0">
            <a:gsLst>
              <a:gs pos="100000">
                <a:srgbClr val="92D050"/>
              </a:gs>
              <a:gs pos="100000">
                <a:schemeClr val="accent3"/>
              </a:gs>
            </a:gsLst>
            <a:lin ang="0" scaled="1"/>
          </a:gradFill>
          <a:ln>
            <a:noFill/>
          </a:ln>
        </p:spPr>
        <p:txBody>
          <a:bodyPr tIns="182880" bIns="18288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marL="7938" algn="ctr" eaLnBrk="1" hangingPunct="1">
              <a:buClr>
                <a:schemeClr val="accent3"/>
              </a:buClr>
              <a:defRPr/>
            </a:pPr>
            <a:endParaRPr lang="en-US" sz="1400" b="1" dirty="0">
              <a:solidFill>
                <a:schemeClr val="accent3"/>
              </a:solidFill>
            </a:endParaRPr>
          </a:p>
          <a:p>
            <a:pPr marL="7938" algn="ctr" eaLnBrk="1" hangingPunct="1">
              <a:buClr>
                <a:schemeClr val="accent3"/>
              </a:buClr>
              <a:defRPr/>
            </a:pPr>
            <a:r>
              <a:rPr lang="en-US" sz="1400" b="1" dirty="0">
                <a:solidFill>
                  <a:schemeClr val="accent3"/>
                </a:solidFill>
              </a:rPr>
              <a:t>No Policy Fee</a:t>
            </a:r>
          </a:p>
          <a:p>
            <a:pPr marL="7938" algn="ctr" eaLnBrk="1" hangingPunct="1">
              <a:buClr>
                <a:schemeClr val="accent3"/>
              </a:buClr>
              <a:defRPr/>
            </a:pP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AB3E1BC-D763-4DD1-89EB-59AAE003C9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6117" y="5780881"/>
            <a:ext cx="1814513" cy="641350"/>
          </a:xfrm>
          <a:prstGeom prst="rect">
            <a:avLst/>
          </a:prstGeom>
          <a:gradFill rotWithShape="0">
            <a:gsLst>
              <a:gs pos="100000">
                <a:srgbClr val="92D050"/>
              </a:gs>
              <a:gs pos="100000">
                <a:schemeClr val="accent3"/>
              </a:gs>
            </a:gsLst>
            <a:lin ang="0" scaled="1"/>
          </a:gradFill>
          <a:ln>
            <a:noFill/>
          </a:ln>
        </p:spPr>
        <p:txBody>
          <a:bodyPr tIns="182880" bIns="18288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marL="7938" algn="ctr" eaLnBrk="1" hangingPunct="1">
              <a:buClr>
                <a:schemeClr val="accent3"/>
              </a:buClr>
              <a:defRPr/>
            </a:pPr>
            <a:endParaRPr lang="en-US" sz="1400" b="1" dirty="0">
              <a:solidFill>
                <a:schemeClr val="accent3"/>
              </a:solidFill>
            </a:endParaRPr>
          </a:p>
          <a:p>
            <a:pPr marL="7938" algn="ctr" eaLnBrk="1" hangingPunct="1">
              <a:buClr>
                <a:schemeClr val="accent3"/>
              </a:buClr>
              <a:defRPr/>
            </a:pPr>
            <a:r>
              <a:rPr lang="en-US" sz="1400" b="1" dirty="0">
                <a:solidFill>
                  <a:schemeClr val="accent3"/>
                </a:solidFill>
              </a:rPr>
              <a:t>No Bid/Offer Spread</a:t>
            </a:r>
          </a:p>
          <a:p>
            <a:pPr marL="7938" algn="ctr" eaLnBrk="1" hangingPunct="1">
              <a:buClr>
                <a:schemeClr val="accent3"/>
              </a:buClr>
              <a:defRPr/>
            </a:pP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F540CFF-56E6-497F-A47D-58A5164207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1767" y="5801519"/>
            <a:ext cx="1814513" cy="642937"/>
          </a:xfrm>
          <a:prstGeom prst="rect">
            <a:avLst/>
          </a:prstGeom>
          <a:gradFill rotWithShape="0">
            <a:gsLst>
              <a:gs pos="100000">
                <a:srgbClr val="92D050"/>
              </a:gs>
              <a:gs pos="100000">
                <a:schemeClr val="accent3"/>
              </a:gs>
            </a:gsLst>
            <a:lin ang="0" scaled="1"/>
          </a:gradFill>
          <a:ln>
            <a:noFill/>
          </a:ln>
        </p:spPr>
        <p:txBody>
          <a:bodyPr tIns="182880" bIns="182880" anchor="ctr"/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marL="7938" algn="ctr" eaLnBrk="1" hangingPunct="1">
              <a:buClr>
                <a:schemeClr val="accent3"/>
              </a:buClr>
              <a:defRPr/>
            </a:pPr>
            <a:r>
              <a:rPr lang="en-US" sz="1400" b="1" dirty="0">
                <a:solidFill>
                  <a:schemeClr val="accent3"/>
                </a:solidFill>
              </a:rPr>
              <a:t>No Premium Modal Loa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2470D68-9F29-48FA-83DF-25C3A2899D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lan charges</a:t>
            </a:r>
          </a:p>
        </p:txBody>
      </p:sp>
    </p:spTree>
    <p:extLst>
      <p:ext uri="{BB962C8B-B14F-4D97-AF65-F5344CB8AC3E}">
        <p14:creationId xmlns:p14="http://schemas.microsoft.com/office/powerpoint/2010/main" val="24421904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E643ED-0085-46DA-8484-1BB5AA7A48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mium Charg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C63E57A-EA2D-460C-8248-57496A4BFE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A5D2E96-09D4-684C-BDED-6024B7F4284C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5" name="table">
            <a:extLst>
              <a:ext uri="{FF2B5EF4-FFF2-40B4-BE49-F238E27FC236}">
                <a16:creationId xmlns:a16="http://schemas.microsoft.com/office/drawing/2014/main" id="{7B1FB7AB-FB2B-4480-BFDB-E42FBD2E9F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7700" y="1196752"/>
            <a:ext cx="7967665" cy="366712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C5F1D92-3E95-4DAE-9DE7-061EBCF0F9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0" y="5276781"/>
            <a:ext cx="9144000" cy="379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sz="3200" kern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defRPr>
            </a:lvl9pPr>
          </a:lstStyle>
          <a:p>
            <a:pPr algn="ctr">
              <a:buFontTx/>
              <a:buNone/>
            </a:pPr>
            <a:r>
              <a:rPr lang="en-US" altLang="en-US" sz="1800" b="1" dirty="0">
                <a:solidFill>
                  <a:schemeClr val="tx1"/>
                </a:solidFill>
              </a:rPr>
              <a:t>Annual Premium Charge (% Basic Planned Premium)</a:t>
            </a:r>
            <a:endParaRPr lang="en-US" altLang="en-US" sz="18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65559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6.xml.rels><?xml version="1.0" encoding="UTF-8" standalone="yes"?>
<Relationships xmlns="http://schemas.openxmlformats.org/package/2006/relationships"><Relationship Id="rId2" Type="http://schemas.microsoft.com/office/2007/relationships/hdphoto" Target="../media/hdphoto1.wdp"/><Relationship Id="rId1" Type="http://schemas.openxmlformats.org/officeDocument/2006/relationships/image" Target="../media/image8.png"/></Relationships>
</file>

<file path=ppt/theme/theme1.xml><?xml version="1.0" encoding="utf-8"?>
<a:theme xmlns:a="http://schemas.openxmlformats.org/drawingml/2006/main" name="Powerpoint Theme (1)">
  <a:themeElements>
    <a:clrScheme name="Met Life Main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Generic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heme" id="{61133558-2D25-43D5-A469-5911154DC3CE}" vid="{7843E824-E8CB-48F4-9BEB-B8379D92B534}"/>
    </a:ext>
  </a:extLst>
</a:theme>
</file>

<file path=ppt/theme/theme10.xml><?xml version="1.0" encoding="utf-8"?>
<a:theme xmlns:a="http://schemas.openxmlformats.org/drawingml/2006/main" name="9_Default Theme">
  <a:themeElements>
    <a:clrScheme name="Met Life Main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Generic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M@M Planning Templat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0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1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12_Default Theme">
  <a:themeElements>
    <a:clrScheme name="Met Life Main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Generic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etLife_Template_Widescreen_16x9_GenericFonts_050718" id="{755D0FEB-4CA7-4C3F-B07F-588F8265DA8D}" vid="{8BC20AB2-82DC-4AFE-8128-3FAD3EF10287}"/>
    </a:ext>
  </a:extLst>
</a:theme>
</file>

<file path=ppt/theme/theme17.xml><?xml version="1.0" encoding="utf-8"?>
<a:theme xmlns:a="http://schemas.openxmlformats.org/drawingml/2006/main" name="13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4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9.xml><?xml version="1.0" encoding="utf-8"?>
<a:theme xmlns:a="http://schemas.openxmlformats.org/drawingml/2006/main" name="15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etLife_Corp_Template_16x9_Master_113016" id="{83F3E9C0-BE5F-4C3C-A243-BD40887143C5}" vid="{B01B47C7-C43A-40AE-ADDF-396A66B7FFBC}"/>
    </a:ext>
  </a:extLst>
</a:theme>
</file>

<file path=ppt/theme/theme20.xml><?xml version="1.0" encoding="utf-8"?>
<a:theme xmlns:a="http://schemas.openxmlformats.org/drawingml/2006/main" name="16_Default Theme">
  <a:themeElements>
    <a:clrScheme name="Met Life Main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Generic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etLife_Template_Widescreen_16x9_GenericFonts_050718" id="{755D0FEB-4CA7-4C3F-B07F-588F8265DA8D}" vid="{8BC20AB2-82DC-4AFE-8128-3FAD3EF10287}"/>
    </a:ext>
  </a:extLst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Default Theme">
  <a:themeElements>
    <a:clrScheme name="Met Life Main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Generic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etLife_Template_Widescreen_16x9_GenericFonts_050718" id="{755D0FEB-4CA7-4C3F-B07F-588F8265DA8D}" vid="{8BC20AB2-82DC-4AFE-8128-3FAD3EF10287}"/>
    </a:ext>
  </a:extLst>
</a:theme>
</file>

<file path=ppt/theme/theme4.xml><?xml version="1.0" encoding="utf-8"?>
<a:theme xmlns:a="http://schemas.openxmlformats.org/drawingml/2006/main" name="3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Custom Design">
  <a:themeElements>
    <a:clrScheme name="final metlife">
      <a:dk1>
        <a:srgbClr val="000000"/>
      </a:dk1>
      <a:lt1>
        <a:srgbClr val="FFFFFF"/>
      </a:lt1>
      <a:dk2>
        <a:srgbClr val="00ACA0"/>
      </a:dk2>
      <a:lt2>
        <a:srgbClr val="5F259F"/>
      </a:lt2>
      <a:accent1>
        <a:srgbClr val="0090DA"/>
      </a:accent1>
      <a:accent2>
        <a:srgbClr val="0061A0"/>
      </a:accent2>
      <a:accent3>
        <a:srgbClr val="A4CE4E"/>
      </a:accent3>
      <a:accent4>
        <a:srgbClr val="75787B"/>
      </a:accent4>
      <a:accent5>
        <a:srgbClr val="A7A8AA"/>
      </a:accent5>
      <a:accent6>
        <a:srgbClr val="DB0A5B"/>
      </a:accent6>
      <a:hlink>
        <a:srgbClr val="D9D9D6"/>
      </a:hlink>
      <a:folHlink>
        <a:srgbClr val="F2F2F2"/>
      </a:folHlink>
    </a:clrScheme>
    <a:fontScheme name="metlife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blipFill>
          <a:blip xmlns:r="http://schemas.openxmlformats.org/officeDocument/2006/relationships" r:embed="rId1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saturation sat="66000"/>
                    </a14:imgEffect>
                  </a14:imgLayer>
                </a14:imgProps>
              </a:ext>
            </a:extLst>
          </a:blip>
          <a:srcRect/>
          <a:stretch>
            <a:fillRect t="-16" b="-16"/>
          </a:stretch>
        </a:blip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4">
              <a:lumMod val="20000"/>
              <a:lumOff val="8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5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6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8_Default Theme">
  <a:themeElements>
    <a:clrScheme name="Met Life Main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Generic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Theme (1)</Template>
  <TotalTime>10059</TotalTime>
  <Words>702</Words>
  <Application>Microsoft Office PowerPoint</Application>
  <PresentationFormat>Widescreen</PresentationFormat>
  <Paragraphs>133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2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52" baseType="lpstr">
      <vt:lpstr>.AppleSystemUIFont</vt:lpstr>
      <vt:lpstr>Arial</vt:lpstr>
      <vt:lpstr>Arial Narrow</vt:lpstr>
      <vt:lpstr>Calibri</vt:lpstr>
      <vt:lpstr>Calibri Light</vt:lpstr>
      <vt:lpstr>Courier New</vt:lpstr>
      <vt:lpstr>Frutiger 45 Light</vt:lpstr>
      <vt:lpstr>Georgia</vt:lpstr>
      <vt:lpstr>Georgia Bold</vt:lpstr>
      <vt:lpstr>Lucida Grande</vt:lpstr>
      <vt:lpstr>MetLife Circular</vt:lpstr>
      <vt:lpstr>Utopia Std</vt:lpstr>
      <vt:lpstr>Wingdings</vt:lpstr>
      <vt:lpstr>Powerpoint Theme (1)</vt:lpstr>
      <vt:lpstr>1_Default Theme</vt:lpstr>
      <vt:lpstr>2_Default Theme</vt:lpstr>
      <vt:lpstr>3_Default Theme</vt:lpstr>
      <vt:lpstr>4_Default Theme</vt:lpstr>
      <vt:lpstr>Custom Design</vt:lpstr>
      <vt:lpstr>5_Default Theme</vt:lpstr>
      <vt:lpstr>6_Default Theme</vt:lpstr>
      <vt:lpstr>8_Default Theme</vt:lpstr>
      <vt:lpstr>9_Default Theme</vt:lpstr>
      <vt:lpstr>M@M Planning Template</vt:lpstr>
      <vt:lpstr>10_Default Theme</vt:lpstr>
      <vt:lpstr>Office Theme</vt:lpstr>
      <vt:lpstr>11_Default Theme</vt:lpstr>
      <vt:lpstr>1_Office Theme</vt:lpstr>
      <vt:lpstr>12_Default Theme</vt:lpstr>
      <vt:lpstr>13_Default Theme</vt:lpstr>
      <vt:lpstr>14_Default Theme</vt:lpstr>
      <vt:lpstr>15_Default Theme</vt:lpstr>
      <vt:lpstr>16_Default Theme</vt:lpstr>
      <vt:lpstr>think-cell Slide</vt:lpstr>
      <vt:lpstr>Investor Advantage:</vt:lpstr>
      <vt:lpstr>With Investor Advantage you get an investment opportunity that will help you maximize on your today’s ability to save for the future you are dreaming of. </vt:lpstr>
      <vt:lpstr>PowerPoint Presentation</vt:lpstr>
      <vt:lpstr>Plan at a glance</vt:lpstr>
      <vt:lpstr>Choice between 3 fundamental investment strategies: Conservative, Balanced and Aggressive Up to 180+ direct funds to select from Free Premium Redirection Free Un-Limited Switches </vt:lpstr>
      <vt:lpstr>Plan Benefits</vt:lpstr>
      <vt:lpstr>Plan benefits- continued</vt:lpstr>
      <vt:lpstr>Plan charges</vt:lpstr>
      <vt:lpstr>Premium Charge</vt:lpstr>
      <vt:lpstr>M&amp;E Charge</vt:lpstr>
      <vt:lpstr>Liquidity Option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tLife – Emirates NDB Culture Plan</dc:title>
  <dc:creator>Gonca</dc:creator>
  <cp:lastModifiedBy>Sameer, Abdul</cp:lastModifiedBy>
  <cp:revision>87</cp:revision>
  <dcterms:created xsi:type="dcterms:W3CDTF">2019-07-04T07:34:48Z</dcterms:created>
  <dcterms:modified xsi:type="dcterms:W3CDTF">2021-05-23T05:35:22Z</dcterms:modified>
</cp:coreProperties>
</file>